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5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Ex1.xml" ContentType="application/vnd.ms-office.chartex+xml"/>
  <Override PartName="/ppt/charts/style10.xml" ContentType="application/vnd.ms-office.chartstyle+xml"/>
  <Override PartName="/ppt/charts/colors10.xml" ContentType="application/vnd.ms-office.chartcolorstyle+xml"/>
  <Override PartName="/ppt/charts/chart10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1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2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2"/>
  </p:notesMasterIdLst>
  <p:sldIdLst>
    <p:sldId id="306" r:id="rId2"/>
    <p:sldId id="299" r:id="rId3"/>
    <p:sldId id="2145706173" r:id="rId4"/>
    <p:sldId id="424" r:id="rId5"/>
    <p:sldId id="2145709853" r:id="rId6"/>
    <p:sldId id="2145709854" r:id="rId7"/>
    <p:sldId id="2145709851" r:id="rId8"/>
    <p:sldId id="260" r:id="rId9"/>
    <p:sldId id="268" r:id="rId10"/>
    <p:sldId id="2145709846" r:id="rId11"/>
    <p:sldId id="516" r:id="rId12"/>
    <p:sldId id="1765" r:id="rId13"/>
    <p:sldId id="1918" r:id="rId14"/>
    <p:sldId id="1069" r:id="rId15"/>
    <p:sldId id="1038" r:id="rId16"/>
    <p:sldId id="1071" r:id="rId17"/>
    <p:sldId id="1070" r:id="rId18"/>
    <p:sldId id="1035" r:id="rId19"/>
    <p:sldId id="1910" r:id="rId20"/>
    <p:sldId id="2145709855" r:id="rId21"/>
    <p:sldId id="269" r:id="rId22"/>
    <p:sldId id="267" r:id="rId23"/>
    <p:sldId id="270" r:id="rId24"/>
    <p:sldId id="271" r:id="rId25"/>
    <p:sldId id="272" r:id="rId26"/>
    <p:sldId id="274" r:id="rId27"/>
    <p:sldId id="300" r:id="rId28"/>
    <p:sldId id="312" r:id="rId29"/>
    <p:sldId id="302" r:id="rId30"/>
    <p:sldId id="301" r:id="rId31"/>
    <p:sldId id="825" r:id="rId32"/>
    <p:sldId id="1040" r:id="rId33"/>
    <p:sldId id="1054" r:id="rId34"/>
    <p:sldId id="1029" r:id="rId35"/>
    <p:sldId id="281" r:id="rId36"/>
    <p:sldId id="257" r:id="rId37"/>
    <p:sldId id="381" r:id="rId38"/>
    <p:sldId id="382" r:id="rId39"/>
    <p:sldId id="380" r:id="rId40"/>
    <p:sldId id="376" r:id="rId41"/>
  </p:sldIdLst>
  <p:sldSz cx="12192000" cy="6858000"/>
  <p:notesSz cx="12192000" cy="6858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8AAB"/>
    <a:srgbClr val="BDCBD9"/>
    <a:srgbClr val="AFC3DB"/>
    <a:srgbClr val="45566B"/>
    <a:srgbClr val="5A718C"/>
    <a:srgbClr val="5F7895"/>
    <a:srgbClr val="52667E"/>
    <a:srgbClr val="576D87"/>
    <a:srgbClr val="3E4F6A"/>
    <a:srgbClr val="4C61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279" autoAdjust="0"/>
    <p:restoredTop sz="0" autoAdjust="0"/>
  </p:normalViewPr>
  <p:slideViewPr>
    <p:cSldViewPr>
      <p:cViewPr varScale="1">
        <p:scale>
          <a:sx n="41" d="100"/>
          <a:sy n="41" d="100"/>
        </p:scale>
        <p:origin x="616" y="2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0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1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8.xml"/><Relationship Id="rId1" Type="http://schemas.microsoft.com/office/2011/relationships/chartStyle" Target="style8.xml"/><Relationship Id="rId5" Type="http://schemas.openxmlformats.org/officeDocument/2006/relationships/chartUserShapes" Target="../drawings/drawing1.xml"/><Relationship Id="rId4" Type="http://schemas.openxmlformats.org/officeDocument/2006/relationships/oleObject" Target="&#1050;&#1085;&#1080;&#1075;&#1072;1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____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541234977206798E-2"/>
          <c:y val="0.18570177986870814"/>
          <c:w val="0.86375079430860613"/>
          <c:h val="0.70250358036704907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50787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7543859649122807E-3"/>
                  <c:y val="0.1568197755391046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0C8-48F5-A9E1-5EAAB20685C1}"/>
                </c:ext>
              </c:extLst>
            </c:dLbl>
            <c:dLbl>
              <c:idx val="1"/>
              <c:layout>
                <c:manualLayout>
                  <c:x val="3.5087719298245615E-3"/>
                  <c:y val="0.165073447935899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0C8-48F5-A9E1-5EAAB20685C1}"/>
                </c:ext>
              </c:extLst>
            </c:dLbl>
            <c:dLbl>
              <c:idx val="2"/>
              <c:layout>
                <c:manualLayout>
                  <c:x val="-6.4326742272101015E-17"/>
                  <c:y val="0.1568197755391045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0C8-48F5-A9E1-5EAAB20685C1}"/>
                </c:ext>
              </c:extLst>
            </c:dLbl>
            <c:dLbl>
              <c:idx val="3"/>
              <c:layout>
                <c:manualLayout>
                  <c:x val="5.2631578947367778E-3"/>
                  <c:y val="0.156819775539104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0C8-48F5-A9E1-5EAAB20685C1}"/>
                </c:ext>
              </c:extLst>
            </c:dLbl>
            <c:dLbl>
              <c:idx val="4"/>
              <c:layout>
                <c:manualLayout>
                  <c:x val="0"/>
                  <c:y val="0.1733271203326944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0C8-48F5-A9E1-5EAAB20685C1}"/>
                </c:ext>
              </c:extLst>
            </c:dLbl>
            <c:dLbl>
              <c:idx val="5"/>
              <c:layout>
                <c:manualLayout>
                  <c:x val="0"/>
                  <c:y val="0.1898344651262844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0C8-48F5-A9E1-5EAAB20685C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  <c:pt idx="5">
                  <c:v>2030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61.5</c:v>
                </c:pt>
                <c:pt idx="1">
                  <c:v>82</c:v>
                </c:pt>
                <c:pt idx="2">
                  <c:v>102</c:v>
                </c:pt>
                <c:pt idx="3">
                  <c:v>123</c:v>
                </c:pt>
                <c:pt idx="4">
                  <c:v>143.5</c:v>
                </c:pt>
                <c:pt idx="5">
                  <c:v>1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C8-48F5-A9E1-5EAAB20685C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18812255"/>
        <c:axId val="193703423"/>
      </c:barChar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F7B92A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rgbClr val="F7B92A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4035087719298246E-2"/>
                  <c:y val="-9.9044068761539705E-2"/>
                </c:manualLayout>
              </c:layout>
              <c:tx>
                <c:rich>
                  <a:bodyPr/>
                  <a:lstStyle/>
                  <a:p>
                    <a:fld id="{A3C3C7E3-FCCE-4A50-A852-E5CDF7272814}" type="VALUE">
                      <a:rPr lang="en-US" smtClean="0"/>
                      <a:pPr/>
                      <a:t>[ЗНАЧЕНИЕ]</a:t>
                    </a:fld>
                    <a:r>
                      <a:rPr lang="en-US" dirty="0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60C8-48F5-A9E1-5EAAB20685C1}"/>
                </c:ext>
              </c:extLst>
            </c:dLbl>
            <c:dLbl>
              <c:idx val="1"/>
              <c:layout>
                <c:manualLayout>
                  <c:x val="-7.017612929962766E-3"/>
                  <c:y val="-0.1031705800122050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D4DF471-66AD-4F0F-B9D5-F5220CD4E07C}" type="VALUE">
                      <a:rPr lang="en-US" smtClean="0"/>
                      <a:pPr>
                        <a:defRPr sz="1400" b="1"/>
                      </a:pPr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32463047382234E-2"/>
                      <c:h val="0.1575626060548160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60C8-48F5-A9E1-5EAAB20685C1}"/>
                </c:ext>
              </c:extLst>
            </c:dLbl>
            <c:dLbl>
              <c:idx val="2"/>
              <c:layout>
                <c:manualLayout>
                  <c:x val="-7.0175438596491229E-3"/>
                  <c:y val="-9.9044068761539705E-2"/>
                </c:manualLayout>
              </c:layout>
              <c:tx>
                <c:rich>
                  <a:bodyPr/>
                  <a:lstStyle/>
                  <a:p>
                    <a:fld id="{A9F8B23E-414B-43E7-A7CB-46B2C13C27EC}" type="VALUE">
                      <a:rPr lang="en-US" smtClean="0"/>
                      <a:pPr/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60C8-48F5-A9E1-5EAAB20685C1}"/>
                </c:ext>
              </c:extLst>
            </c:dLbl>
            <c:dLbl>
              <c:idx val="3"/>
              <c:layout>
                <c:manualLayout>
                  <c:x val="-1.4035087719298246E-2"/>
                  <c:y val="-8.2536723967949768E-2"/>
                </c:manualLayout>
              </c:layout>
              <c:tx>
                <c:rich>
                  <a:bodyPr/>
                  <a:lstStyle/>
                  <a:p>
                    <a:fld id="{33196CCD-968B-4A12-A4F7-14AD2352646E}" type="VALUE">
                      <a:rPr lang="en-US" smtClean="0"/>
                      <a:pPr/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60C8-48F5-A9E1-5EAAB20685C1}"/>
                </c:ext>
              </c:extLst>
            </c:dLbl>
            <c:dLbl>
              <c:idx val="4"/>
              <c:layout>
                <c:manualLayout>
                  <c:x val="-1.5789473684210527E-2"/>
                  <c:y val="-7.4283051571154779E-2"/>
                </c:manualLayout>
              </c:layout>
              <c:tx>
                <c:rich>
                  <a:bodyPr/>
                  <a:lstStyle/>
                  <a:p>
                    <a:fld id="{57237284-2437-44EE-B99A-F26E78CF57D0}" type="VALUE">
                      <a:rPr lang="en-US" smtClean="0"/>
                      <a:pPr/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60C8-48F5-A9E1-5EAAB20685C1}"/>
                </c:ext>
              </c:extLst>
            </c:dLbl>
            <c:dLbl>
              <c:idx val="5"/>
              <c:layout>
                <c:manualLayout>
                  <c:x val="-1.5789473684210655E-2"/>
                  <c:y val="-9.079039636474473E-2"/>
                </c:manualLayout>
              </c:layout>
              <c:tx>
                <c:rich>
                  <a:bodyPr/>
                  <a:lstStyle/>
                  <a:p>
                    <a:fld id="{F91B826D-B060-40A5-A024-F7A5A89F9352}" type="VALUE">
                      <a:rPr lang="en-US" smtClean="0"/>
                      <a:pPr/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60C8-48F5-A9E1-5EAAB20685C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  <c:pt idx="5">
                  <c:v>2030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30</c:v>
                </c:pt>
                <c:pt idx="1">
                  <c:v>40</c:v>
                </c:pt>
                <c:pt idx="2">
                  <c:v>50</c:v>
                </c:pt>
                <c:pt idx="3">
                  <c:v>60</c:v>
                </c:pt>
                <c:pt idx="4">
                  <c:v>70</c:v>
                </c:pt>
                <c:pt idx="5">
                  <c:v>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0C8-48F5-A9E1-5EAAB20685C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89221807"/>
        <c:axId val="689223247"/>
      </c:lineChart>
      <c:catAx>
        <c:axId val="68922180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89223247"/>
        <c:crosses val="autoZero"/>
        <c:auto val="1"/>
        <c:lblAlgn val="ctr"/>
        <c:lblOffset val="100"/>
        <c:noMultiLvlLbl val="0"/>
      </c:catAx>
      <c:valAx>
        <c:axId val="689223247"/>
        <c:scaling>
          <c:orientation val="minMax"/>
          <c:max val="90"/>
          <c:min val="-7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89221807"/>
        <c:crosses val="autoZero"/>
        <c:crossBetween val="between"/>
      </c:valAx>
      <c:valAx>
        <c:axId val="193703423"/>
        <c:scaling>
          <c:orientation val="minMax"/>
          <c:max val="20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8812255"/>
        <c:crosses val="max"/>
        <c:crossBetween val="between"/>
      </c:valAx>
      <c:catAx>
        <c:axId val="41881225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370342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ОО ЕРЕН-групп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9615159005734375E-3"/>
                  <c:y val="1.24251150383024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C88C-4878-AF87-AE9F8154B5EE}"/>
                </c:ext>
              </c:extLst>
            </c:dLbl>
            <c:dLbl>
              <c:idx val="1"/>
              <c:layout>
                <c:manualLayout>
                  <c:x val="5.9422738508601554E-3"/>
                  <c:y val="-7.5930381413159412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C88C-4878-AF87-AE9F8154B5EE}"/>
                </c:ext>
              </c:extLst>
            </c:dLbl>
            <c:dLbl>
              <c:idx val="2"/>
              <c:layout>
                <c:manualLayout>
                  <c:x val="3.9615159005733647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C88C-4878-AF87-AE9F8154B5EE}"/>
                </c:ext>
              </c:extLst>
            </c:dLbl>
            <c:dLbl>
              <c:idx val="3"/>
              <c:layout>
                <c:manualLayout>
                  <c:x val="3.9615159005734375E-3"/>
                  <c:y val="3.313364010214031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88C-4878-AF87-AE9F8154B5EE}"/>
                </c:ext>
              </c:extLst>
            </c:dLbl>
            <c:dLbl>
              <c:idx val="4"/>
              <c:layout>
                <c:manualLayout>
                  <c:x val="3.9615159005734375E-3"/>
                  <c:y val="1.242511503830261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C88C-4878-AF87-AE9F8154B5EE}"/>
                </c:ext>
              </c:extLst>
            </c:dLbl>
            <c:dLbl>
              <c:idx val="5"/>
              <c:layout>
                <c:manualLayout>
                  <c:x val="9.903789751433521E-3"/>
                  <c:y val="-3.7965190706579706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C88C-4878-AF87-AE9F8154B5EE}"/>
                </c:ext>
              </c:extLst>
            </c:dLbl>
            <c:dLbl>
              <c:idx val="6"/>
              <c:layout>
                <c:manualLayout>
                  <c:x val="5.942273850860155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5911141638698206E-2"/>
                      <c:h val="7.293542527483637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1-C88C-4878-AF87-AE9F8154B5EE}"/>
                </c:ext>
              </c:extLst>
            </c:dLbl>
            <c:dLbl>
              <c:idx val="7"/>
              <c:layout>
                <c:manualLayout>
                  <c:x val="3.9615159005733647E-3"/>
                  <c:y val="1.656682005107013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88C-4878-AF87-AE9F8154B5EE}"/>
                </c:ext>
              </c:extLst>
            </c:dLbl>
            <c:dLbl>
              <c:idx val="8"/>
              <c:layout>
                <c:manualLayout>
                  <c:x val="5.9422738508601554E-3"/>
                  <c:y val="8.28341002553507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C88C-4878-AF87-AE9F8154B5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0</c:f>
              <c:strCache>
                <c:ptCount val="9"/>
                <c:pt idx="0">
                  <c:v>Стаж работников: более 15 лет (%)</c:v>
                </c:pt>
                <c:pt idx="1">
                  <c:v>Стаж работников: 11-15 лет (%)</c:v>
                </c:pt>
                <c:pt idx="2">
                  <c:v>Стаж работников: 6-10 лет (%)</c:v>
                </c:pt>
                <c:pt idx="3">
                  <c:v>Стаж работников: 1-5 лет (%)</c:v>
                </c:pt>
                <c:pt idx="4">
                  <c:v>Возраст работников: 61-65 лет (%)</c:v>
                </c:pt>
                <c:pt idx="5">
                  <c:v>Возраст работников: 51-60 лет (%)</c:v>
                </c:pt>
                <c:pt idx="6">
                  <c:v>Возраст работников: 41-50 лет (%)</c:v>
                </c:pt>
                <c:pt idx="7">
                  <c:v>Возраст работников: 31-40 лет (%)</c:v>
                </c:pt>
                <c:pt idx="8">
                  <c:v>Возраст работников: 18-30 лет (%)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5.4</c:v>
                </c:pt>
                <c:pt idx="1">
                  <c:v>16.399999999999999</c:v>
                </c:pt>
                <c:pt idx="2">
                  <c:v>23.5</c:v>
                </c:pt>
                <c:pt idx="3">
                  <c:v>54.7</c:v>
                </c:pt>
                <c:pt idx="4">
                  <c:v>0</c:v>
                </c:pt>
                <c:pt idx="5">
                  <c:v>20</c:v>
                </c:pt>
                <c:pt idx="6">
                  <c:v>36</c:v>
                </c:pt>
                <c:pt idx="7">
                  <c:v>31</c:v>
                </c:pt>
                <c:pt idx="8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8C-4878-AF87-AE9F8154B5E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К BI-Group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9230318011468751E-3"/>
                  <c:y val="-1.656682005107015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88C-4878-AF87-AE9F8154B5EE}"/>
                </c:ext>
              </c:extLst>
            </c:dLbl>
            <c:dLbl>
              <c:idx val="1"/>
              <c:layout>
                <c:manualLayout>
                  <c:x val="3.9615159005734375E-3"/>
                  <c:y val="-1.242511503830261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88C-4878-AF87-AE9F8154B5EE}"/>
                </c:ext>
              </c:extLst>
            </c:dLbl>
            <c:dLbl>
              <c:idx val="2"/>
              <c:layout>
                <c:manualLayout>
                  <c:x val="9.903789751433521E-3"/>
                  <c:y val="-2.070852506383777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88C-4878-AF87-AE9F8154B5EE}"/>
                </c:ext>
              </c:extLst>
            </c:dLbl>
            <c:dLbl>
              <c:idx val="3"/>
              <c:layout>
                <c:manualLayout>
                  <c:x val="3.9615159005734375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C88C-4878-AF87-AE9F8154B5EE}"/>
                </c:ext>
              </c:extLst>
            </c:dLbl>
            <c:dLbl>
              <c:idx val="4"/>
              <c:layout>
                <c:manualLayout>
                  <c:x val="1.1884547701720311E-2"/>
                  <c:y val="-4.141705012767615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88C-4878-AF87-AE9F8154B5EE}"/>
                </c:ext>
              </c:extLst>
            </c:dLbl>
            <c:dLbl>
              <c:idx val="5"/>
              <c:layout>
                <c:manualLayout>
                  <c:x val="5.9422738508601554E-3"/>
                  <c:y val="-1.656682005107015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88C-4878-AF87-AE9F8154B5EE}"/>
                </c:ext>
              </c:extLst>
            </c:dLbl>
            <c:dLbl>
              <c:idx val="6"/>
              <c:layout>
                <c:manualLayout>
                  <c:x val="5.9422738508600834E-3"/>
                  <c:y val="-1.656682005107015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88C-4878-AF87-AE9F8154B5EE}"/>
                </c:ext>
              </c:extLst>
            </c:dLbl>
            <c:dLbl>
              <c:idx val="7"/>
              <c:layout>
                <c:manualLayout>
                  <c:x val="9.9037897514335938E-3"/>
                  <c:y val="-1.242511503830263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88C-4878-AF87-AE9F8154B5EE}"/>
                </c:ext>
              </c:extLst>
            </c:dLbl>
            <c:dLbl>
              <c:idx val="8"/>
              <c:layout>
                <c:manualLayout>
                  <c:x val="5.9422738508601554E-3"/>
                  <c:y val="-4.7456488383224632E-1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88C-4878-AF87-AE9F8154B5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0</c:f>
              <c:strCache>
                <c:ptCount val="9"/>
                <c:pt idx="0">
                  <c:v>Стаж работников: более 15 лет (%)</c:v>
                </c:pt>
                <c:pt idx="1">
                  <c:v>Стаж работников: 11-15 лет (%)</c:v>
                </c:pt>
                <c:pt idx="2">
                  <c:v>Стаж работников: 6-10 лет (%)</c:v>
                </c:pt>
                <c:pt idx="3">
                  <c:v>Стаж работников: 1-5 лет (%)</c:v>
                </c:pt>
                <c:pt idx="4">
                  <c:v>Возраст работников: 61-65 лет (%)</c:v>
                </c:pt>
                <c:pt idx="5">
                  <c:v>Возраст работников: 51-60 лет (%)</c:v>
                </c:pt>
                <c:pt idx="6">
                  <c:v>Возраст работников: 41-50 лет (%)</c:v>
                </c:pt>
                <c:pt idx="7">
                  <c:v>Возраст работников: 31-40 лет (%)</c:v>
                </c:pt>
                <c:pt idx="8">
                  <c:v>Возраст работников: 18-30 лет (%)</c:v>
                </c:pt>
              </c:strCache>
            </c:strRef>
          </c:cat>
          <c:val>
            <c:numRef>
              <c:f>Лист1!$C$2:$C$10</c:f>
              <c:numCache>
                <c:formatCode>General</c:formatCode>
                <c:ptCount val="9"/>
                <c:pt idx="0">
                  <c:v>6</c:v>
                </c:pt>
                <c:pt idx="1">
                  <c:v>11</c:v>
                </c:pt>
                <c:pt idx="2">
                  <c:v>17</c:v>
                </c:pt>
                <c:pt idx="3">
                  <c:v>66</c:v>
                </c:pt>
                <c:pt idx="4">
                  <c:v>1.73</c:v>
                </c:pt>
                <c:pt idx="5">
                  <c:v>8.65</c:v>
                </c:pt>
                <c:pt idx="6">
                  <c:v>11.5</c:v>
                </c:pt>
                <c:pt idx="7">
                  <c:v>28.59</c:v>
                </c:pt>
                <c:pt idx="8">
                  <c:v>49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8C-4878-AF87-AE9F8154B5E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414491544"/>
        <c:axId val="414492856"/>
      </c:barChart>
      <c:catAx>
        <c:axId val="4144915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4492856"/>
        <c:crosses val="autoZero"/>
        <c:auto val="1"/>
        <c:lblAlgn val="ctr"/>
        <c:lblOffset val="100"/>
        <c:noMultiLvlLbl val="0"/>
      </c:catAx>
      <c:valAx>
        <c:axId val="41449285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4491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ОО ЕРЕН-групп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1.284076474337175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554-43DE-A833-36B1DAFE3E8C}"/>
                </c:ext>
              </c:extLst>
            </c:dLbl>
            <c:dLbl>
              <c:idx val="1"/>
              <c:layout>
                <c:manualLayout>
                  <c:x val="0"/>
                  <c:y val="-1.284076474337175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554-43DE-A833-36B1DAFE3E8C}"/>
                </c:ext>
              </c:extLst>
            </c:dLbl>
            <c:dLbl>
              <c:idx val="2"/>
              <c:layout>
                <c:manualLayout>
                  <c:x val="0"/>
                  <c:y val="-6.420382371685877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554-43DE-A833-36B1DAFE3E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Превышение пыли (мг/м3) (бетонщик)</c:v>
                </c:pt>
                <c:pt idx="1">
                  <c:v>Превышение вибрации (дБ)</c:v>
                </c:pt>
                <c:pt idx="2">
                  <c:v>Превышение шума (дБА)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.8</c:v>
                </c:pt>
                <c:pt idx="1">
                  <c:v>79.8</c:v>
                </c:pt>
                <c:pt idx="2">
                  <c:v>8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54-43DE-A833-36B1DAFE3E8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К BI-Group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1.284076474337175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554-43DE-A833-36B1DAFE3E8C}"/>
                </c:ext>
              </c:extLst>
            </c:dLbl>
            <c:dLbl>
              <c:idx val="1"/>
              <c:layout>
                <c:manualLayout>
                  <c:x val="0"/>
                  <c:y val="-1.284076474337175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554-43DE-A833-36B1DAFE3E8C}"/>
                </c:ext>
              </c:extLst>
            </c:dLbl>
            <c:dLbl>
              <c:idx val="2"/>
              <c:layout>
                <c:manualLayout>
                  <c:x val="-1.1329230611652665E-16"/>
                  <c:y val="-1.498089220060038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554-43DE-A833-36B1DAFE3E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Превышение пыли (мг/м3) (бетонщик)</c:v>
                </c:pt>
                <c:pt idx="1">
                  <c:v>Превышение вибрации (дБ)</c:v>
                </c:pt>
                <c:pt idx="2">
                  <c:v>Превышение шума (дБА)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7.8</c:v>
                </c:pt>
                <c:pt idx="1">
                  <c:v>76.2</c:v>
                </c:pt>
                <c:pt idx="2">
                  <c:v>8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554-43DE-A833-36B1DAFE3E8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83036560"/>
        <c:axId val="483037216"/>
      </c:barChart>
      <c:catAx>
        <c:axId val="483036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83037216"/>
        <c:crosses val="autoZero"/>
        <c:auto val="1"/>
        <c:lblAlgn val="ctr"/>
        <c:lblOffset val="100"/>
        <c:noMultiLvlLbl val="0"/>
      </c:catAx>
      <c:valAx>
        <c:axId val="483037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83036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705006256970205E-2"/>
          <c:y val="0"/>
          <c:w val="0.95092680623669323"/>
          <c:h val="0.57423797709337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ребования безопасности к средствам индивидуальной защиты, в том числе  к материалам и методам испытаний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2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BC-4BEA-A010-5F15951935A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Требования безопасности при эксплуатации машин, механизмов, производства работ</c:v>
                </c:pt>
              </c:strCache>
            </c:strRef>
          </c:tx>
          <c:spPr>
            <a:solidFill>
              <a:srgbClr val="8CA59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BC-4BEA-A010-5F15951935A1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Иные (основополагающие, СУОТ, факторы, обучение и тп.)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D$2</c:f>
              <c:numCache>
                <c:formatCode>General</c:formatCode>
                <c:ptCount val="1"/>
                <c:pt idx="0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CBC-4BEA-A010-5F15951935A1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-25"/>
        <c:axId val="192061840"/>
        <c:axId val="192061056"/>
      </c:barChart>
      <c:catAx>
        <c:axId val="192061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2061056"/>
        <c:crosses val="autoZero"/>
        <c:auto val="1"/>
        <c:lblAlgn val="ctr"/>
        <c:lblOffset val="100"/>
        <c:noMultiLvlLbl val="0"/>
      </c:catAx>
      <c:valAx>
        <c:axId val="1920610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920618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709021905191767E-3"/>
          <c:y val="0.629070999928945"/>
          <c:w val="0.99029097809480826"/>
          <c:h val="0.36368727556182856"/>
        </c:manualLayout>
      </c:layout>
      <c:overlay val="0"/>
      <c:spPr>
        <a:solidFill>
          <a:schemeClr val="bg1">
            <a:lumMod val="95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dPt>
            <c:idx val="0"/>
            <c:bubble3D val="0"/>
            <c:explosion val="2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ACC-4510-AC3C-7AA24A270D32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ACC-4510-AC3C-7AA24A270D32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ACC-4510-AC3C-7AA24A270D32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ACC-4510-AC3C-7AA24A270D32}"/>
              </c:ext>
            </c:extLst>
          </c:dPt>
          <c:dPt>
            <c:idx val="4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ACC-4510-AC3C-7AA24A270D32}"/>
              </c:ext>
            </c:extLst>
          </c:dPt>
          <c:dPt>
            <c:idx val="5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ACC-4510-AC3C-7AA24A270D32}"/>
              </c:ext>
            </c:extLst>
          </c:dPt>
          <c:dPt>
            <c:idx val="6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0ACC-4510-AC3C-7AA24A270D32}"/>
              </c:ext>
            </c:extLst>
          </c:dPt>
          <c:dPt>
            <c:idx val="7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0ACC-4510-AC3C-7AA24A270D32}"/>
              </c:ext>
            </c:extLst>
          </c:dPt>
          <c:dPt>
            <c:idx val="8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0ACC-4510-AC3C-7AA24A270D32}"/>
              </c:ext>
            </c:extLst>
          </c:dPt>
          <c:dPt>
            <c:idx val="9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0ACC-4510-AC3C-7AA24A270D32}"/>
              </c:ext>
            </c:extLst>
          </c:dPt>
          <c:dPt>
            <c:idx val="1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0ACC-4510-AC3C-7AA24A270D32}"/>
              </c:ext>
            </c:extLst>
          </c:dPt>
          <c:dPt>
            <c:idx val="1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0ACC-4510-AC3C-7AA24A270D32}"/>
              </c:ext>
            </c:extLst>
          </c:dPt>
          <c:dPt>
            <c:idx val="12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0ACC-4510-AC3C-7AA24A270D32}"/>
              </c:ext>
            </c:extLst>
          </c:dPt>
          <c:dPt>
            <c:idx val="1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0ACC-4510-AC3C-7AA24A270D32}"/>
              </c:ext>
            </c:extLst>
          </c:dPt>
          <c:dPt>
            <c:idx val="14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0ACC-4510-AC3C-7AA24A270D32}"/>
              </c:ext>
            </c:extLst>
          </c:dPt>
          <c:dPt>
            <c:idx val="15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0ACC-4510-AC3C-7AA24A270D32}"/>
              </c:ext>
            </c:extLst>
          </c:dPt>
          <c:dPt>
            <c:idx val="16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0ACC-4510-AC3C-7AA24A270D32}"/>
              </c:ext>
            </c:extLst>
          </c:dPt>
          <c:dPt>
            <c:idx val="17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0ACC-4510-AC3C-7AA24A270D32}"/>
              </c:ext>
            </c:extLst>
          </c:dPt>
          <c:dPt>
            <c:idx val="18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0ACC-4510-AC3C-7AA24A270D32}"/>
              </c:ext>
            </c:extLst>
          </c:dPt>
          <c:dPt>
            <c:idx val="19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7-0ACC-4510-AC3C-7AA24A270D32}"/>
              </c:ext>
            </c:extLst>
          </c:dPt>
          <c:cat>
            <c:strRef>
              <c:f>Лист1!$A$2:$A$21</c:f>
              <c:strCache>
                <c:ptCount val="10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  <c:pt idx="4">
                  <c:v>Кв. 1</c:v>
                </c:pt>
                <c:pt idx="5">
                  <c:v>Кв. 2</c:v>
                </c:pt>
                <c:pt idx="6">
                  <c:v>Кв. 3</c:v>
                </c:pt>
                <c:pt idx="7">
                  <c:v>Кв. 4</c:v>
                </c:pt>
                <c:pt idx="8">
                  <c:v>Кв. 1</c:v>
                </c:pt>
                <c:pt idx="9">
                  <c:v>Кв. 2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</c:v>
                </c:pt>
                <c:pt idx="1">
                  <c:v>0.2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0ACC-4510-AC3C-7AA24A270D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dPt>
            <c:idx val="0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86D-4068-9F5F-2852F9FC6E4A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A86D-4068-9F5F-2852F9FC6E4A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665-445B-A9F6-054CCC5DC525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665-445B-A9F6-054CCC5DC525}"/>
              </c:ext>
            </c:extLst>
          </c:dPt>
          <c:dPt>
            <c:idx val="4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665-445B-A9F6-054CCC5DC525}"/>
              </c:ext>
            </c:extLst>
          </c:dPt>
          <c:dPt>
            <c:idx val="5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C665-445B-A9F6-054CCC5DC525}"/>
              </c:ext>
            </c:extLst>
          </c:dPt>
          <c:dPt>
            <c:idx val="6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665-445B-A9F6-054CCC5DC525}"/>
              </c:ext>
            </c:extLst>
          </c:dPt>
          <c:dPt>
            <c:idx val="7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665-445B-A9F6-054CCC5DC525}"/>
              </c:ext>
            </c:extLst>
          </c:dPt>
          <c:dPt>
            <c:idx val="8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C665-445B-A9F6-054CCC5DC525}"/>
              </c:ext>
            </c:extLst>
          </c:dPt>
          <c:dPt>
            <c:idx val="9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C665-445B-A9F6-054CCC5DC525}"/>
              </c:ext>
            </c:extLst>
          </c:dPt>
          <c:dPt>
            <c:idx val="1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C665-445B-A9F6-054CCC5DC525}"/>
              </c:ext>
            </c:extLst>
          </c:dPt>
          <c:dPt>
            <c:idx val="1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C665-445B-A9F6-054CCC5DC525}"/>
              </c:ext>
            </c:extLst>
          </c:dPt>
          <c:dPt>
            <c:idx val="12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C665-445B-A9F6-054CCC5DC525}"/>
              </c:ext>
            </c:extLst>
          </c:dPt>
          <c:dPt>
            <c:idx val="1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C665-445B-A9F6-054CCC5DC525}"/>
              </c:ext>
            </c:extLst>
          </c:dPt>
          <c:dPt>
            <c:idx val="14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C665-445B-A9F6-054CCC5DC525}"/>
              </c:ext>
            </c:extLst>
          </c:dPt>
          <c:dPt>
            <c:idx val="15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C665-445B-A9F6-054CCC5DC525}"/>
              </c:ext>
            </c:extLst>
          </c:dPt>
          <c:dPt>
            <c:idx val="16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C665-445B-A9F6-054CCC5DC525}"/>
              </c:ext>
            </c:extLst>
          </c:dPt>
          <c:dPt>
            <c:idx val="17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C665-445B-A9F6-054CCC5DC525}"/>
              </c:ext>
            </c:extLst>
          </c:dPt>
          <c:dPt>
            <c:idx val="18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C665-445B-A9F6-054CCC5DC525}"/>
              </c:ext>
            </c:extLst>
          </c:dPt>
          <c:dPt>
            <c:idx val="19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7-C665-445B-A9F6-054CCC5DC525}"/>
              </c:ext>
            </c:extLst>
          </c:dPt>
          <c:cat>
            <c:strRef>
              <c:f>Лист1!$A$2:$A$21</c:f>
              <c:strCache>
                <c:ptCount val="10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  <c:pt idx="4">
                  <c:v>Кв. 1</c:v>
                </c:pt>
                <c:pt idx="5">
                  <c:v>Кв. 2</c:v>
                </c:pt>
                <c:pt idx="6">
                  <c:v>Кв. 3</c:v>
                </c:pt>
                <c:pt idx="7">
                  <c:v>Кв. 4</c:v>
                </c:pt>
                <c:pt idx="8">
                  <c:v>Кв. 1</c:v>
                </c:pt>
                <c:pt idx="9">
                  <c:v>Кв. 2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0.7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6D-4068-9F5F-2852F9FC6E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2C4-46F6-AABF-AD24C400B7A7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2C4-46F6-AABF-AD24C400B7A7}"/>
              </c:ext>
            </c:extLst>
          </c:dPt>
          <c:dPt>
            <c:idx val="2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2C4-46F6-AABF-AD24C400B7A7}"/>
              </c:ext>
            </c:extLst>
          </c:dPt>
          <c:dPt>
            <c:idx val="3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2C4-46F6-AABF-AD24C400B7A7}"/>
              </c:ext>
            </c:extLst>
          </c:dPt>
          <c:dPt>
            <c:idx val="4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2C4-46F6-AABF-AD24C400B7A7}"/>
              </c:ext>
            </c:extLst>
          </c:dPt>
          <c:dPt>
            <c:idx val="5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2C4-46F6-AABF-AD24C400B7A7}"/>
              </c:ext>
            </c:extLst>
          </c:dPt>
          <c:dPt>
            <c:idx val="6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2C4-46F6-AABF-AD24C400B7A7}"/>
              </c:ext>
            </c:extLst>
          </c:dPt>
          <c:dPt>
            <c:idx val="7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42C4-46F6-AABF-AD24C400B7A7}"/>
              </c:ext>
            </c:extLst>
          </c:dPt>
          <c:dPt>
            <c:idx val="8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42C4-46F6-AABF-AD24C400B7A7}"/>
              </c:ext>
            </c:extLst>
          </c:dPt>
          <c:dPt>
            <c:idx val="9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42C4-46F6-AABF-AD24C400B7A7}"/>
              </c:ext>
            </c:extLst>
          </c:dPt>
          <c:dPt>
            <c:idx val="10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42C4-46F6-AABF-AD24C400B7A7}"/>
              </c:ext>
            </c:extLst>
          </c:dPt>
          <c:dPt>
            <c:idx val="1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42C4-46F6-AABF-AD24C400B7A7}"/>
              </c:ext>
            </c:extLst>
          </c:dPt>
          <c:dPt>
            <c:idx val="12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42C4-46F6-AABF-AD24C400B7A7}"/>
              </c:ext>
            </c:extLst>
          </c:dPt>
          <c:dPt>
            <c:idx val="1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42C4-46F6-AABF-AD24C400B7A7}"/>
              </c:ext>
            </c:extLst>
          </c:dPt>
          <c:dPt>
            <c:idx val="14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42C4-46F6-AABF-AD24C400B7A7}"/>
              </c:ext>
            </c:extLst>
          </c:dPt>
          <c:dPt>
            <c:idx val="15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42C4-46F6-AABF-AD24C400B7A7}"/>
              </c:ext>
            </c:extLst>
          </c:dPt>
          <c:dPt>
            <c:idx val="16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42C4-46F6-AABF-AD24C400B7A7}"/>
              </c:ext>
            </c:extLst>
          </c:dPt>
          <c:dPt>
            <c:idx val="17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42C4-46F6-AABF-AD24C400B7A7}"/>
              </c:ext>
            </c:extLst>
          </c:dPt>
          <c:dPt>
            <c:idx val="18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42C4-46F6-AABF-AD24C400B7A7}"/>
              </c:ext>
            </c:extLst>
          </c:dPt>
          <c:dPt>
            <c:idx val="19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7-42C4-46F6-AABF-AD24C400B7A7}"/>
              </c:ext>
            </c:extLst>
          </c:dPt>
          <c:cat>
            <c:strRef>
              <c:f>Лист1!$A$2:$A$21</c:f>
              <c:strCache>
                <c:ptCount val="10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  <c:pt idx="4">
                  <c:v>Кв. 1</c:v>
                </c:pt>
                <c:pt idx="5">
                  <c:v>Кв. 2</c:v>
                </c:pt>
                <c:pt idx="6">
                  <c:v>Кв. 3</c:v>
                </c:pt>
                <c:pt idx="7">
                  <c:v>Кв. 4</c:v>
                </c:pt>
                <c:pt idx="8">
                  <c:v>Кв. 1</c:v>
                </c:pt>
                <c:pt idx="9">
                  <c:v>Кв. 2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0.2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42C4-46F6-AABF-AD24C400B7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3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D0D-4FFB-A80C-A9FEC79B837C}"/>
              </c:ext>
            </c:extLst>
          </c:dPt>
          <c:dPt>
            <c:idx val="1"/>
            <c:bubble3D val="0"/>
            <c:spPr>
              <a:solidFill>
                <a:schemeClr val="accent2">
                  <a:shade val="4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D0D-4FFB-A80C-A9FEC79B837C}"/>
              </c:ext>
            </c:extLst>
          </c:dPt>
          <c:dPt>
            <c:idx val="2"/>
            <c:bubble3D val="0"/>
            <c:spPr>
              <a:solidFill>
                <a:schemeClr val="accent2">
                  <a:shade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D0D-4FFB-A80C-A9FEC79B837C}"/>
              </c:ext>
            </c:extLst>
          </c:dPt>
          <c:dPt>
            <c:idx val="3"/>
            <c:bubble3D val="0"/>
            <c:spPr>
              <a:solidFill>
                <a:schemeClr val="accent2">
                  <a:shade val="5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D0D-4FFB-A80C-A9FEC79B837C}"/>
              </c:ext>
            </c:extLst>
          </c:dPt>
          <c:dPt>
            <c:idx val="4"/>
            <c:bubble3D val="0"/>
            <c:spPr>
              <a:solidFill>
                <a:schemeClr val="accent2">
                  <a:shade val="6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D0D-4FFB-A80C-A9FEC79B837C}"/>
              </c:ext>
            </c:extLst>
          </c:dPt>
          <c:dPt>
            <c:idx val="5"/>
            <c:bubble3D val="0"/>
            <c:spPr>
              <a:solidFill>
                <a:schemeClr val="accent2">
                  <a:shade val="7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D0D-4FFB-A80C-A9FEC79B837C}"/>
              </c:ext>
            </c:extLst>
          </c:dPt>
          <c:dPt>
            <c:idx val="6"/>
            <c:bubble3D val="0"/>
            <c:spPr>
              <a:solidFill>
                <a:schemeClr val="accent2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3D0D-4FFB-A80C-A9FEC79B837C}"/>
              </c:ext>
            </c:extLst>
          </c:dPt>
          <c:dPt>
            <c:idx val="7"/>
            <c:bubble3D val="0"/>
            <c:spPr>
              <a:solidFill>
                <a:schemeClr val="accent2">
                  <a:shade val="8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3D0D-4FFB-A80C-A9FEC79B837C}"/>
              </c:ext>
            </c:extLst>
          </c:dPt>
          <c:dPt>
            <c:idx val="8"/>
            <c:bubble3D val="0"/>
            <c:spPr>
              <a:solidFill>
                <a:schemeClr val="accent2">
                  <a:shade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3D0D-4FFB-A80C-A9FEC79B837C}"/>
              </c:ext>
            </c:extLst>
          </c:dPt>
          <c:dPt>
            <c:idx val="9"/>
            <c:bubble3D val="0"/>
            <c:spPr>
              <a:solidFill>
                <a:schemeClr val="accent2">
                  <a:shade val="9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3D0D-4FFB-A80C-A9FEC79B837C}"/>
              </c:ext>
            </c:extLst>
          </c:dPt>
          <c:dPt>
            <c:idx val="10"/>
            <c:bubble3D val="0"/>
            <c:spPr>
              <a:solidFill>
                <a:schemeClr val="accent2">
                  <a:tint val="9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3D0D-4FFB-A80C-A9FEC79B837C}"/>
              </c:ext>
            </c:extLst>
          </c:dPt>
          <c:dPt>
            <c:idx val="11"/>
            <c:bubble3D val="0"/>
            <c:spPr>
              <a:solidFill>
                <a:schemeClr val="accent2">
                  <a:tint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3D0D-4FFB-A80C-A9FEC79B837C}"/>
              </c:ext>
            </c:extLst>
          </c:dPt>
          <c:dPt>
            <c:idx val="12"/>
            <c:bubble3D val="0"/>
            <c:spPr>
              <a:solidFill>
                <a:schemeClr val="accent2">
                  <a:tint val="8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3D0D-4FFB-A80C-A9FEC79B837C}"/>
              </c:ext>
            </c:extLst>
          </c:dPt>
          <c:dPt>
            <c:idx val="13"/>
            <c:bubble3D val="0"/>
            <c:spPr>
              <a:solidFill>
                <a:schemeClr val="accent2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3D0D-4FFB-A80C-A9FEC79B837C}"/>
              </c:ext>
            </c:extLst>
          </c:dPt>
          <c:dPt>
            <c:idx val="14"/>
            <c:bubble3D val="0"/>
            <c:spPr>
              <a:solidFill>
                <a:schemeClr val="accent2">
                  <a:tint val="7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3D0D-4FFB-A80C-A9FEC79B837C}"/>
              </c:ext>
            </c:extLst>
          </c:dPt>
          <c:dPt>
            <c:idx val="15"/>
            <c:bubble3D val="0"/>
            <c:spPr>
              <a:solidFill>
                <a:schemeClr val="accent2">
                  <a:tint val="6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3D0D-4FFB-A80C-A9FEC79B837C}"/>
              </c:ext>
            </c:extLst>
          </c:dPt>
          <c:dPt>
            <c:idx val="16"/>
            <c:bubble3D val="0"/>
            <c:spPr>
              <a:solidFill>
                <a:schemeClr val="accent2">
                  <a:tint val="5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3D0D-4FFB-A80C-A9FEC79B837C}"/>
              </c:ext>
            </c:extLst>
          </c:dPt>
          <c:dPt>
            <c:idx val="17"/>
            <c:bubble3D val="0"/>
            <c:spPr>
              <a:solidFill>
                <a:schemeClr val="accent2">
                  <a:tint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3D0D-4FFB-A80C-A9FEC79B837C}"/>
              </c:ext>
            </c:extLst>
          </c:dPt>
          <c:dPt>
            <c:idx val="18"/>
            <c:bubble3D val="0"/>
            <c:spPr>
              <a:solidFill>
                <a:schemeClr val="accent2">
                  <a:tint val="4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3D0D-4FFB-A80C-A9FEC79B837C}"/>
              </c:ext>
            </c:extLst>
          </c:dPt>
          <c:dPt>
            <c:idx val="19"/>
            <c:bubble3D val="0"/>
            <c:spPr>
              <a:solidFill>
                <a:schemeClr val="accent2">
                  <a:tint val="3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7-3D0D-4FFB-A80C-A9FEC79B837C}"/>
              </c:ext>
            </c:extLst>
          </c:dPt>
          <c:cat>
            <c:strRef>
              <c:f>Лист1!$A$2:$A$21</c:f>
              <c:strCache>
                <c:ptCount val="10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  <c:pt idx="4">
                  <c:v>Кв. 1</c:v>
                </c:pt>
                <c:pt idx="5">
                  <c:v>Кв. 2</c:v>
                </c:pt>
                <c:pt idx="6">
                  <c:v>Кв. 3</c:v>
                </c:pt>
                <c:pt idx="7">
                  <c:v>Кв. 4</c:v>
                </c:pt>
                <c:pt idx="8">
                  <c:v>Кв. 1</c:v>
                </c:pt>
                <c:pt idx="9">
                  <c:v>Кв. 2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3D0D-4FFB-A80C-A9FEC79B83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800" b="1" i="0" baseline="0" dirty="0">
                <a:effectLst/>
              </a:rPr>
              <a:t>ТОО «</a:t>
            </a:r>
            <a:r>
              <a:rPr lang="ru-RU" sz="1800" b="1" i="0" baseline="0" dirty="0" err="1">
                <a:effectLst/>
              </a:rPr>
              <a:t>Жанашыр</a:t>
            </a:r>
            <a:r>
              <a:rPr lang="ru-RU" sz="1800" b="1" i="0" baseline="0" dirty="0">
                <a:effectLst/>
              </a:rPr>
              <a:t> </a:t>
            </a:r>
            <a:r>
              <a:rPr lang="ru-RU" sz="1800" b="1" i="0" baseline="0" dirty="0" err="1">
                <a:effectLst/>
              </a:rPr>
              <a:t>Проджект</a:t>
            </a:r>
            <a:r>
              <a:rPr lang="ru-RU" sz="1800" b="1" i="0" baseline="0" dirty="0">
                <a:effectLst/>
              </a:rPr>
              <a:t>»</a:t>
            </a:r>
            <a:endParaRPr lang="ru-RU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3.3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1.8437223512218416E-2"/>
                  <c:y val="-1.037997803040870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22C-47A4-8C2D-C466C60F6D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тяжесть</c:v>
                </c:pt>
                <c:pt idx="1">
                  <c:v>гамма-излучения</c:v>
                </c:pt>
                <c:pt idx="2">
                  <c:v>дизельное топливо</c:v>
                </c:pt>
                <c:pt idx="3">
                  <c:v>силикатная пыль</c:v>
                </c:pt>
                <c:pt idx="4">
                  <c:v>оксид железо</c:v>
                </c:pt>
                <c:pt idx="5">
                  <c:v>вибрация</c:v>
                </c:pt>
                <c:pt idx="6">
                  <c:v>шум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1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2C-47A4-8C2D-C466C60F6D8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3.2</c:v>
                </c:pt>
              </c:strCache>
            </c:strRef>
          </c:tx>
          <c:spPr>
            <a:solidFill>
              <a:srgbClr val="007AAB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1.2291482341478957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22C-47A4-8C2D-C466C60F6D83}"/>
                </c:ext>
              </c:extLst>
            </c:dLbl>
            <c:dLbl>
              <c:idx val="3"/>
              <c:layout>
                <c:manualLayout>
                  <c:x val="1.4340062731725342E-2"/>
                  <c:y val="-6.3432466297456284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22C-47A4-8C2D-C466C60F6D83}"/>
                </c:ext>
              </c:extLst>
            </c:dLbl>
            <c:dLbl>
              <c:idx val="5"/>
              <c:layout>
                <c:manualLayout>
                  <c:x val="1.024290195123242E-2"/>
                  <c:y val="3.1716233148728142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22C-47A4-8C2D-C466C60F6D83}"/>
                </c:ext>
              </c:extLst>
            </c:dLbl>
            <c:dLbl>
              <c:idx val="6"/>
              <c:layout>
                <c:manualLayout>
                  <c:x val="8.1943215609858455E-3"/>
                  <c:y val="6.919985353605771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22C-47A4-8C2D-C466C60F6D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тяжесть</c:v>
                </c:pt>
                <c:pt idx="1">
                  <c:v>гамма-излучения</c:v>
                </c:pt>
                <c:pt idx="2">
                  <c:v>дизельное топливо</c:v>
                </c:pt>
                <c:pt idx="3">
                  <c:v>силикатная пыль</c:v>
                </c:pt>
                <c:pt idx="4">
                  <c:v>оксид железо</c:v>
                </c:pt>
                <c:pt idx="5">
                  <c:v>вибрация</c:v>
                </c:pt>
                <c:pt idx="6">
                  <c:v>шум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2">
                  <c:v>2</c:v>
                </c:pt>
                <c:pt idx="3">
                  <c:v>44</c:v>
                </c:pt>
                <c:pt idx="5">
                  <c:v>26</c:v>
                </c:pt>
                <c:pt idx="6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2C-47A4-8C2D-C466C60F6D8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3.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434006273172549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22C-47A4-8C2D-C466C60F6D83}"/>
                </c:ext>
              </c:extLst>
            </c:dLbl>
            <c:dLbl>
              <c:idx val="4"/>
              <c:layout>
                <c:manualLayout>
                  <c:x val="1.2291482341478994E-2"/>
                  <c:y val="-6.3432466297456284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22C-47A4-8C2D-C466C60F6D83}"/>
                </c:ext>
              </c:extLst>
            </c:dLbl>
            <c:dLbl>
              <c:idx val="5"/>
              <c:layout>
                <c:manualLayout>
                  <c:x val="8.1943215609859583E-3"/>
                  <c:y val="-1.72999633840145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22C-47A4-8C2D-C466C60F6D83}"/>
                </c:ext>
              </c:extLst>
            </c:dLbl>
            <c:dLbl>
              <c:idx val="6"/>
              <c:layout>
                <c:manualLayout>
                  <c:x val="8.1943215609858455E-3"/>
                  <c:y val="-1.72999633840145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22C-47A4-8C2D-C466C60F6D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тяжесть</c:v>
                </c:pt>
                <c:pt idx="1">
                  <c:v>гамма-излучения</c:v>
                </c:pt>
                <c:pt idx="2">
                  <c:v>дизельное топливо</c:v>
                </c:pt>
                <c:pt idx="3">
                  <c:v>силикатная пыль</c:v>
                </c:pt>
                <c:pt idx="4">
                  <c:v>оксид железо</c:v>
                </c:pt>
                <c:pt idx="5">
                  <c:v>вибрация</c:v>
                </c:pt>
                <c:pt idx="6">
                  <c:v>шум</c:v>
                </c:pt>
              </c:strCache>
            </c:strRef>
          </c:cat>
          <c:val>
            <c:numRef>
              <c:f>Лист1!$D$2:$D$8</c:f>
              <c:numCache>
                <c:formatCode>General</c:formatCode>
                <c:ptCount val="7"/>
                <c:pt idx="0">
                  <c:v>31</c:v>
                </c:pt>
                <c:pt idx="4">
                  <c:v>1</c:v>
                </c:pt>
                <c:pt idx="5">
                  <c:v>5</c:v>
                </c:pt>
                <c:pt idx="6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22C-47A4-8C2D-C466C60F6D8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510304408"/>
        <c:axId val="510305064"/>
      </c:barChart>
      <c:catAx>
        <c:axId val="51030440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0305064"/>
        <c:crosses val="autoZero"/>
        <c:auto val="1"/>
        <c:lblAlgn val="ctr"/>
        <c:lblOffset val="100"/>
        <c:noMultiLvlLbl val="0"/>
      </c:catAx>
      <c:valAx>
        <c:axId val="51030506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0304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862" b="1" i="0" u="none" strike="noStrike" baseline="0" dirty="0">
                <a:effectLst/>
              </a:rPr>
              <a:t>АО «АК </a:t>
            </a:r>
            <a:r>
              <a:rPr lang="ru-RU" sz="1862" b="1" i="0" u="none" strike="noStrike" baseline="0" dirty="0" err="1">
                <a:effectLst/>
              </a:rPr>
              <a:t>Алтыналмас</a:t>
            </a:r>
            <a:r>
              <a:rPr lang="ru-RU" sz="1862" b="1" i="0" u="none" strike="noStrike" baseline="0" dirty="0">
                <a:effectLst/>
              </a:rPr>
              <a:t>»</a:t>
            </a:r>
            <a:endParaRPr lang="ru-RU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3.3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Lbl>
              <c:idx val="7"/>
              <c:layout>
                <c:manualLayout>
                  <c:x val="2.9456783284473858E-2"/>
                  <c:y val="7.036147515325749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CD0-472B-A04D-29DAA78935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тяжесть</c:v>
                </c:pt>
                <c:pt idx="1">
                  <c:v>марганец</c:v>
                </c:pt>
                <c:pt idx="2">
                  <c:v>пыль неорганическая</c:v>
                </c:pt>
                <c:pt idx="3">
                  <c:v>оксид углерод</c:v>
                </c:pt>
                <c:pt idx="4">
                  <c:v>влажность воздуха</c:v>
                </c:pt>
                <c:pt idx="5">
                  <c:v>освещенность</c:v>
                </c:pt>
                <c:pt idx="6">
                  <c:v>вибрация</c:v>
                </c:pt>
                <c:pt idx="7">
                  <c:v>шум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D0-472B-A04D-29DAA78935C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3.2</c:v>
                </c:pt>
              </c:strCache>
            </c:strRef>
          </c:tx>
          <c:spPr>
            <a:solidFill>
              <a:srgbClr val="007AAB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3641958211184194E-3"/>
                  <c:y val="1.407229503065156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CCD0-472B-A04D-29DAA78935CA}"/>
                </c:ext>
              </c:extLst>
            </c:dLbl>
            <c:dLbl>
              <c:idx val="2"/>
              <c:layout>
                <c:manualLayout>
                  <c:x val="7.3641958211184194E-3"/>
                  <c:y val="7.036147515325781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CD0-472B-A04D-29DAA78935CA}"/>
                </c:ext>
              </c:extLst>
            </c:dLbl>
            <c:dLbl>
              <c:idx val="5"/>
              <c:layout>
                <c:manualLayout>
                  <c:x val="1.2273659701864108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CD0-472B-A04D-29DAA78935CA}"/>
                </c:ext>
              </c:extLst>
            </c:dLbl>
            <c:dLbl>
              <c:idx val="6"/>
              <c:layout>
                <c:manualLayout>
                  <c:x val="1.2273659701864063E-2"/>
                  <c:y val="7.036147515325781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CD0-472B-A04D-29DAA78935CA}"/>
                </c:ext>
              </c:extLst>
            </c:dLbl>
            <c:dLbl>
              <c:idx val="7"/>
              <c:layout>
                <c:manualLayout>
                  <c:x val="4.6639906867083608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CD0-472B-A04D-29DAA78935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тяжесть</c:v>
                </c:pt>
                <c:pt idx="1">
                  <c:v>марганец</c:v>
                </c:pt>
                <c:pt idx="2">
                  <c:v>пыль неорганическая</c:v>
                </c:pt>
                <c:pt idx="3">
                  <c:v>оксид углерод</c:v>
                </c:pt>
                <c:pt idx="4">
                  <c:v>влажность воздуха</c:v>
                </c:pt>
                <c:pt idx="5">
                  <c:v>освещенность</c:v>
                </c:pt>
                <c:pt idx="6">
                  <c:v>вибрация</c:v>
                </c:pt>
                <c:pt idx="7">
                  <c:v>шум</c:v>
                </c:pt>
              </c:strCache>
            </c:strRef>
          </c:cat>
          <c:val>
            <c:numRef>
              <c:f>Лист1!$C$2:$C$9</c:f>
              <c:numCache>
                <c:formatCode>General</c:formatCode>
                <c:ptCount val="8"/>
                <c:pt idx="0">
                  <c:v>5</c:v>
                </c:pt>
                <c:pt idx="2">
                  <c:v>6</c:v>
                </c:pt>
                <c:pt idx="5">
                  <c:v>1</c:v>
                </c:pt>
                <c:pt idx="6">
                  <c:v>2</c:v>
                </c:pt>
                <c:pt idx="7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CD0-472B-A04D-29DAA78935C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3.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9094638807455982E-3"/>
                  <c:y val="-1.055422127298880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CCD0-472B-A04D-29DAA78935CA}"/>
                </c:ext>
              </c:extLst>
            </c:dLbl>
            <c:dLbl>
              <c:idx val="1"/>
              <c:layout>
                <c:manualLayout>
                  <c:x val="7.3641958211184645E-3"/>
                  <c:y val="-3.5180737576630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CCD0-472B-A04D-29DAA78935CA}"/>
                </c:ext>
              </c:extLst>
            </c:dLbl>
            <c:dLbl>
              <c:idx val="2"/>
              <c:layout>
                <c:manualLayout>
                  <c:x val="9.8189277614911964E-3"/>
                  <c:y val="-1.055422127298867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CD0-472B-A04D-29DAA78935CA}"/>
                </c:ext>
              </c:extLst>
            </c:dLbl>
            <c:dLbl>
              <c:idx val="3"/>
              <c:layout>
                <c:manualLayout>
                  <c:x val="4.9094638807456433E-3"/>
                  <c:y val="-1.407229503065156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CD0-472B-A04D-29DAA78935CA}"/>
                </c:ext>
              </c:extLst>
            </c:dLbl>
            <c:dLbl>
              <c:idx val="4"/>
              <c:layout>
                <c:manualLayout>
                  <c:x val="7.3641958211184645E-3"/>
                  <c:y val="-7.036147515325781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CD0-472B-A04D-29DAA78935CA}"/>
                </c:ext>
              </c:extLst>
            </c:dLbl>
            <c:dLbl>
              <c:idx val="6"/>
              <c:layout>
                <c:manualLayout>
                  <c:x val="2.209258746335539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CD0-472B-A04D-29DAA78935CA}"/>
                </c:ext>
              </c:extLst>
            </c:dLbl>
            <c:dLbl>
              <c:idx val="7"/>
              <c:layout>
                <c:manualLayout>
                  <c:x val="1.7183123582609705E-2"/>
                  <c:y val="-2.462651630364023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CD0-472B-A04D-29DAA78935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тяжесть</c:v>
                </c:pt>
                <c:pt idx="1">
                  <c:v>марганец</c:v>
                </c:pt>
                <c:pt idx="2">
                  <c:v>пыль неорганическая</c:v>
                </c:pt>
                <c:pt idx="3">
                  <c:v>оксид углерод</c:v>
                </c:pt>
                <c:pt idx="4">
                  <c:v>влажность воздуха</c:v>
                </c:pt>
                <c:pt idx="5">
                  <c:v>освещенность</c:v>
                </c:pt>
                <c:pt idx="6">
                  <c:v>вибрация</c:v>
                </c:pt>
                <c:pt idx="7">
                  <c:v>шум</c:v>
                </c:pt>
              </c:strCache>
            </c:strRef>
          </c:cat>
          <c:val>
            <c:numRef>
              <c:f>Лист1!$D$2:$D$9</c:f>
              <c:numCache>
                <c:formatCode>General</c:formatCode>
                <c:ptCount val="8"/>
                <c:pt idx="0">
                  <c:v>14</c:v>
                </c:pt>
                <c:pt idx="1">
                  <c:v>1</c:v>
                </c:pt>
                <c:pt idx="2">
                  <c:v>12</c:v>
                </c:pt>
                <c:pt idx="3">
                  <c:v>6</c:v>
                </c:pt>
                <c:pt idx="4">
                  <c:v>125</c:v>
                </c:pt>
                <c:pt idx="6">
                  <c:v>3</c:v>
                </c:pt>
                <c:pt idx="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CD0-472B-A04D-29DAA78935C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592475640"/>
        <c:axId val="592479576"/>
      </c:barChart>
      <c:catAx>
        <c:axId val="5924756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2479576"/>
        <c:crosses val="autoZero"/>
        <c:auto val="1"/>
        <c:lblAlgn val="ctr"/>
        <c:lblOffset val="100"/>
        <c:noMultiLvlLbl val="0"/>
      </c:catAx>
      <c:valAx>
        <c:axId val="5924795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2475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8078995031303887E-2"/>
          <c:y val="5.1428390648233097E-2"/>
          <c:w val="0.95394135253839363"/>
          <c:h val="0.774871207567464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3!$B$1</c:f>
              <c:strCache>
                <c:ptCount val="1"/>
                <c:pt idx="0">
                  <c:v>цех №1</c:v>
                </c:pt>
              </c:strCache>
            </c:strRef>
          </c:tx>
          <c:spPr>
            <a:solidFill>
              <a:srgbClr val="6BB8D7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7.8848902699151305E-2"/>
                  <c:y val="-7.2673853023484071E-3"/>
                </c:manualLayout>
              </c:layout>
              <c:spPr>
                <a:solidFill>
                  <a:srgbClr val="6BB8D7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1349835178419138E-2"/>
                      <c:h val="3.19330054655315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C-28D9-4AC3-94FD-BE14E7C3DA3A}"/>
                </c:ext>
              </c:extLst>
            </c:dLbl>
            <c:dLbl>
              <c:idx val="4"/>
              <c:layout>
                <c:manualLayout>
                  <c:x val="7.0761764322411783E-2"/>
                  <c:y val="-8.7208623628180874E-3"/>
                </c:manualLayout>
              </c:layout>
              <c:spPr>
                <a:solidFill>
                  <a:srgbClr val="6BB8D7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28D9-4AC3-94FD-BE14E7C3DA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3!$A$2:$A$7</c:f>
              <c:strCache>
                <c:ptCount val="6"/>
                <c:pt idx="0">
                  <c:v>ОРВИ</c:v>
                </c:pt>
                <c:pt idx="1">
                  <c:v>Болезни бронхолегочной системы</c:v>
                </c:pt>
                <c:pt idx="2">
                  <c:v>Грыжа, артриты, артрозы, подагра</c:v>
                </c:pt>
                <c:pt idx="3">
                  <c:v>Сердечно-сосудистые заболевания</c:v>
                </c:pt>
                <c:pt idx="4">
                  <c:v>Болезни почек</c:v>
                </c:pt>
                <c:pt idx="5">
                  <c:v>Болезни центральной нервной системы</c:v>
                </c:pt>
              </c:strCache>
            </c:strRef>
          </c:cat>
          <c:val>
            <c:numRef>
              <c:f>Лист3!$B$2:$B$7</c:f>
              <c:numCache>
                <c:formatCode>General</c:formatCode>
                <c:ptCount val="6"/>
                <c:pt idx="2">
                  <c:v>4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95-4357-97A4-5FA415C9B5FE}"/>
            </c:ext>
          </c:extLst>
        </c:ser>
        <c:ser>
          <c:idx val="1"/>
          <c:order val="1"/>
          <c:tx>
            <c:strRef>
              <c:f>Лист3!$C$1</c:f>
              <c:strCache>
                <c:ptCount val="1"/>
                <c:pt idx="0">
                  <c:v>цех №2</c:v>
                </c:pt>
              </c:strCache>
            </c:strRef>
          </c:tx>
          <c:spPr>
            <a:solidFill>
              <a:srgbClr val="007AAB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8848823102116147E-2"/>
                  <c:y val="-6.3952990660665981E-2"/>
                </c:manualLayout>
              </c:layout>
              <c:spPr>
                <a:solidFill>
                  <a:srgbClr val="007AAB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8D9-4AC3-94FD-BE14E7C3DA3A}"/>
                </c:ext>
              </c:extLst>
            </c:dLbl>
            <c:dLbl>
              <c:idx val="1"/>
              <c:layout>
                <c:manualLayout>
                  <c:x val="7.0761764322411894E-2"/>
                  <c:y val="-3.4883449451272461E-2"/>
                </c:manualLayout>
              </c:layout>
              <c:spPr>
                <a:solidFill>
                  <a:srgbClr val="007AAB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8D9-4AC3-94FD-BE14E7C3DA3A}"/>
                </c:ext>
              </c:extLst>
            </c:dLbl>
            <c:dLbl>
              <c:idx val="2"/>
              <c:layout>
                <c:manualLayout>
                  <c:x val="7.6827058407190091E-2"/>
                  <c:y val="-4.0697357693151082E-2"/>
                </c:manualLayout>
              </c:layout>
              <c:spPr>
                <a:solidFill>
                  <a:srgbClr val="007AAB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8D9-4AC3-94FD-BE14E7C3DA3A}"/>
                </c:ext>
              </c:extLst>
            </c:dLbl>
            <c:dLbl>
              <c:idx val="4"/>
              <c:layout>
                <c:manualLayout>
                  <c:x val="6.8739999627485879E-2"/>
                  <c:y val="-4.0697357693151082E-2"/>
                </c:manualLayout>
              </c:layout>
              <c:spPr>
                <a:solidFill>
                  <a:srgbClr val="007AAB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28D9-4AC3-94FD-BE14E7C3DA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3!$A$2:$A$7</c:f>
              <c:strCache>
                <c:ptCount val="6"/>
                <c:pt idx="0">
                  <c:v>ОРВИ</c:v>
                </c:pt>
                <c:pt idx="1">
                  <c:v>Болезни бронхолегочной системы</c:v>
                </c:pt>
                <c:pt idx="2">
                  <c:v>Грыжа, артриты, артрозы, подагра</c:v>
                </c:pt>
                <c:pt idx="3">
                  <c:v>Сердечно-сосудистые заболевания</c:v>
                </c:pt>
                <c:pt idx="4">
                  <c:v>Болезни почек</c:v>
                </c:pt>
                <c:pt idx="5">
                  <c:v>Болезни центральной нервной системы</c:v>
                </c:pt>
              </c:strCache>
            </c:strRef>
          </c:cat>
          <c:val>
            <c:numRef>
              <c:f>Лист3!$C$2:$C$7</c:f>
              <c:numCache>
                <c:formatCode>General</c:formatCode>
                <c:ptCount val="6"/>
                <c:pt idx="0">
                  <c:v>29</c:v>
                </c:pt>
                <c:pt idx="1">
                  <c:v>11</c:v>
                </c:pt>
                <c:pt idx="2">
                  <c:v>1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95-4357-97A4-5FA415C9B5FE}"/>
            </c:ext>
          </c:extLst>
        </c:ser>
        <c:ser>
          <c:idx val="2"/>
          <c:order val="2"/>
          <c:tx>
            <c:strRef>
              <c:f>Лист3!$D$1</c:f>
              <c:strCache>
                <c:ptCount val="1"/>
                <c:pt idx="0">
                  <c:v>цех №5</c:v>
                </c:pt>
              </c:strCache>
            </c:strRef>
          </c:tx>
          <c:spPr>
            <a:solidFill>
              <a:sysClr val="window" lastClr="FFFFFF">
                <a:lumMod val="65000"/>
              </a:sys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8848823102116147E-2"/>
                  <c:y val="-5.52321282978478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8D9-4AC3-94FD-BE14E7C3DA3A}"/>
                </c:ext>
              </c:extLst>
            </c:dLbl>
            <c:dLbl>
              <c:idx val="1"/>
              <c:layout>
                <c:manualLayout>
                  <c:x val="7.0761764322411894E-2"/>
                  <c:y val="-2.90695412093936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8D9-4AC3-94FD-BE14E7C3DA3A}"/>
                </c:ext>
              </c:extLst>
            </c:dLbl>
            <c:dLbl>
              <c:idx val="2"/>
              <c:layout>
                <c:manualLayout>
                  <c:x val="7.8848823102116078E-2"/>
                  <c:y val="-3.77904035722117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8D9-4AC3-94FD-BE14E7C3DA3A}"/>
                </c:ext>
              </c:extLst>
            </c:dLbl>
            <c:dLbl>
              <c:idx val="3"/>
              <c:layout>
                <c:manualLayout>
                  <c:x val="7.0761764322411935E-2"/>
                  <c:y val="2.90695412093925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8D9-4AC3-94FD-BE14E7C3DA3A}"/>
                </c:ext>
              </c:extLst>
            </c:dLbl>
            <c:dLbl>
              <c:idx val="4"/>
              <c:layout>
                <c:manualLayout>
                  <c:x val="7.0761764322411783E-2"/>
                  <c:y val="-5.23251741769085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8D9-4AC3-94FD-BE14E7C3DA3A}"/>
                </c:ext>
              </c:extLst>
            </c:dLbl>
            <c:dLbl>
              <c:idx val="5"/>
              <c:layout>
                <c:manualLayout>
                  <c:x val="6.671823493255967E-2"/>
                  <c:y val="-2.90695412093936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28D9-4AC3-94FD-BE14E7C3DA3A}"/>
                </c:ext>
              </c:extLst>
            </c:dLbl>
            <c:spPr>
              <a:solidFill>
                <a:srgbClr val="A6A6A6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3!$A$2:$A$7</c:f>
              <c:strCache>
                <c:ptCount val="6"/>
                <c:pt idx="0">
                  <c:v>ОРВИ</c:v>
                </c:pt>
                <c:pt idx="1">
                  <c:v>Болезни бронхолегочной системы</c:v>
                </c:pt>
                <c:pt idx="2">
                  <c:v>Грыжа, артриты, артрозы, подагра</c:v>
                </c:pt>
                <c:pt idx="3">
                  <c:v>Сердечно-сосудистые заболевания</c:v>
                </c:pt>
                <c:pt idx="4">
                  <c:v>Болезни почек</c:v>
                </c:pt>
                <c:pt idx="5">
                  <c:v>Болезни центральной нервной системы</c:v>
                </c:pt>
              </c:strCache>
            </c:strRef>
          </c:cat>
          <c:val>
            <c:numRef>
              <c:f>Лист3!$D$2:$D$7</c:f>
              <c:numCache>
                <c:formatCode>General</c:formatCode>
                <c:ptCount val="6"/>
                <c:pt idx="0">
                  <c:v>44</c:v>
                </c:pt>
                <c:pt idx="1">
                  <c:v>28</c:v>
                </c:pt>
                <c:pt idx="2">
                  <c:v>16</c:v>
                </c:pt>
                <c:pt idx="3">
                  <c:v>6</c:v>
                </c:pt>
                <c:pt idx="4">
                  <c:v>6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E95-4357-97A4-5FA415C9B5FE}"/>
            </c:ext>
          </c:extLst>
        </c:ser>
        <c:ser>
          <c:idx val="3"/>
          <c:order val="3"/>
          <c:tx>
            <c:strRef>
              <c:f>Лист3!$E$1</c:f>
              <c:strCache>
                <c:ptCount val="1"/>
                <c:pt idx="0">
                  <c:v>цех №7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8848823102116147E-2"/>
                  <c:y val="-1.4534770604696814E-2"/>
                </c:manualLayout>
              </c:layout>
              <c:spPr>
                <a:solidFill>
                  <a:srgbClr val="00206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8D9-4AC3-94FD-BE14E7C3DA3A}"/>
                </c:ext>
              </c:extLst>
            </c:dLbl>
            <c:dLbl>
              <c:idx val="1"/>
              <c:layout>
                <c:manualLayout>
                  <c:x val="7.8848823102116147E-2"/>
                  <c:y val="-2.9069541209393629E-3"/>
                </c:manualLayout>
              </c:layout>
              <c:spPr>
                <a:solidFill>
                  <a:srgbClr val="00206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8D9-4AC3-94FD-BE14E7C3DA3A}"/>
                </c:ext>
              </c:extLst>
            </c:dLbl>
            <c:dLbl>
              <c:idx val="3"/>
              <c:layout>
                <c:manualLayout>
                  <c:x val="6.4696470237633766E-2"/>
                  <c:y val="-1.4534770604696707E-2"/>
                </c:manualLayout>
              </c:layout>
              <c:spPr>
                <a:solidFill>
                  <a:srgbClr val="00206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8D9-4AC3-94FD-BE14E7C3DA3A}"/>
                </c:ext>
              </c:extLst>
            </c:dLbl>
            <c:dLbl>
              <c:idx val="4"/>
              <c:layout>
                <c:manualLayout>
                  <c:x val="7.0761764322411783E-2"/>
                  <c:y val="-7.5580807144423431E-2"/>
                </c:manualLayout>
              </c:layout>
              <c:spPr>
                <a:solidFill>
                  <a:srgbClr val="00206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8D9-4AC3-94FD-BE14E7C3DA3A}"/>
                </c:ext>
              </c:extLst>
            </c:dLbl>
            <c:dLbl>
              <c:idx val="5"/>
              <c:layout>
                <c:manualLayout>
                  <c:x val="6.671823493255967E-2"/>
                  <c:y val="-6.6859944781605452E-2"/>
                </c:manualLayout>
              </c:layout>
              <c:spPr>
                <a:solidFill>
                  <a:srgbClr val="00206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28D9-4AC3-94FD-BE14E7C3DA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3!$A$2:$A$7</c:f>
              <c:strCache>
                <c:ptCount val="6"/>
                <c:pt idx="0">
                  <c:v>ОРВИ</c:v>
                </c:pt>
                <c:pt idx="1">
                  <c:v>Болезни бронхолегочной системы</c:v>
                </c:pt>
                <c:pt idx="2">
                  <c:v>Грыжа, артриты, артрозы, подагра</c:v>
                </c:pt>
                <c:pt idx="3">
                  <c:v>Сердечно-сосудистые заболевания</c:v>
                </c:pt>
                <c:pt idx="4">
                  <c:v>Болезни почек</c:v>
                </c:pt>
                <c:pt idx="5">
                  <c:v>Болезни центральной нервной системы</c:v>
                </c:pt>
              </c:strCache>
            </c:strRef>
          </c:cat>
          <c:val>
            <c:numRef>
              <c:f>Лист3!$E$2:$E$7</c:f>
              <c:numCache>
                <c:formatCode>General</c:formatCode>
                <c:ptCount val="6"/>
                <c:pt idx="0">
                  <c:v>5</c:v>
                </c:pt>
                <c:pt idx="1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E95-4357-97A4-5FA415C9B5FE}"/>
            </c:ext>
          </c:extLst>
        </c:ser>
        <c:ser>
          <c:idx val="4"/>
          <c:order val="4"/>
          <c:tx>
            <c:strRef>
              <c:f>Лист3!$F$1</c:f>
              <c:strCache>
                <c:ptCount val="1"/>
                <c:pt idx="0">
                  <c:v>цех №12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8.0870587797042204E-2"/>
                  <c:y val="-2.0348678846575541E-2"/>
                </c:manualLayout>
              </c:layout>
              <c:spPr>
                <a:solidFill>
                  <a:srgbClr val="5B9BD5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8D9-4AC3-94FD-BE14E7C3DA3A}"/>
                </c:ext>
              </c:extLst>
            </c:dLbl>
            <c:dLbl>
              <c:idx val="1"/>
              <c:layout>
                <c:manualLayout>
                  <c:x val="8.6935881881820332E-2"/>
                  <c:y val="-3.488344945127235E-2"/>
                </c:manualLayout>
              </c:layout>
              <c:spPr>
                <a:solidFill>
                  <a:srgbClr val="5B9BD5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8D9-4AC3-94FD-BE14E7C3DA3A}"/>
                </c:ext>
              </c:extLst>
            </c:dLbl>
            <c:dLbl>
              <c:idx val="2"/>
              <c:layout>
                <c:manualLayout>
                  <c:x val="7.8848823102116078E-2"/>
                  <c:y val="-3.7790403572211716E-2"/>
                </c:manualLayout>
              </c:layout>
              <c:spPr>
                <a:solidFill>
                  <a:srgbClr val="5B9BD5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8D9-4AC3-94FD-BE14E7C3DA3A}"/>
                </c:ext>
              </c:extLst>
            </c:dLbl>
            <c:dLbl>
              <c:idx val="3"/>
              <c:layout>
                <c:manualLayout>
                  <c:x val="6.6718234932559739E-2"/>
                  <c:y val="-5.8139082418787257E-2"/>
                </c:manualLayout>
              </c:layout>
              <c:spPr>
                <a:solidFill>
                  <a:srgbClr val="5B9BD5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8D9-4AC3-94FD-BE14E7C3DA3A}"/>
                </c:ext>
              </c:extLst>
            </c:dLbl>
            <c:dLbl>
              <c:idx val="4"/>
              <c:layout>
                <c:manualLayout>
                  <c:x val="3.0326470423890681E-2"/>
                  <c:y val="-6.685994478160534E-2"/>
                </c:manualLayout>
              </c:layout>
              <c:spPr>
                <a:solidFill>
                  <a:srgbClr val="5B9BD5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8D9-4AC3-94FD-BE14E7C3DA3A}"/>
                </c:ext>
              </c:extLst>
            </c:dLbl>
            <c:dLbl>
              <c:idx val="5"/>
              <c:layout>
                <c:manualLayout>
                  <c:x val="4.2457058593447158E-2"/>
                  <c:y val="-8.720862362818077E-2"/>
                </c:manualLayout>
              </c:layout>
              <c:spPr>
                <a:solidFill>
                  <a:srgbClr val="5B9BD5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28D9-4AC3-94FD-BE14E7C3DA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3!$A$2:$A$7</c:f>
              <c:strCache>
                <c:ptCount val="6"/>
                <c:pt idx="0">
                  <c:v>ОРВИ</c:v>
                </c:pt>
                <c:pt idx="1">
                  <c:v>Болезни бронхолегочной системы</c:v>
                </c:pt>
                <c:pt idx="2">
                  <c:v>Грыжа, артриты, артрозы, подагра</c:v>
                </c:pt>
                <c:pt idx="3">
                  <c:v>Сердечно-сосудистые заболевания</c:v>
                </c:pt>
                <c:pt idx="4">
                  <c:v>Болезни почек</c:v>
                </c:pt>
                <c:pt idx="5">
                  <c:v>Болезни центральной нервной системы</c:v>
                </c:pt>
              </c:strCache>
            </c:strRef>
          </c:cat>
          <c:val>
            <c:numRef>
              <c:f>Лист3!$F$2:$F$7</c:f>
              <c:numCache>
                <c:formatCode>General</c:formatCode>
                <c:ptCount val="6"/>
                <c:pt idx="0">
                  <c:v>19</c:v>
                </c:pt>
                <c:pt idx="1">
                  <c:v>10</c:v>
                </c:pt>
                <c:pt idx="2">
                  <c:v>12</c:v>
                </c:pt>
                <c:pt idx="3">
                  <c:v>2</c:v>
                </c:pt>
                <c:pt idx="4">
                  <c:v>5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E95-4357-97A4-5FA415C9B5F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138419103"/>
        <c:axId val="138418271"/>
      </c:barChart>
      <c:catAx>
        <c:axId val="13841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38418271"/>
        <c:crosses val="autoZero"/>
        <c:auto val="1"/>
        <c:lblAlgn val="ctr"/>
        <c:lblOffset val="100"/>
        <c:noMultiLvlLbl val="0"/>
      </c:catAx>
      <c:valAx>
        <c:axId val="13841827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3841910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4653774641335192E-2"/>
          <c:y val="0.92424107058116367"/>
          <c:w val="0.60618817875305042"/>
          <c:h val="4.3167958492834321E-2"/>
        </c:manualLayout>
      </c:layout>
      <c:overlay val="0"/>
      <c:spPr>
        <a:noFill/>
        <a:ln>
          <a:noFill/>
        </a:ln>
        <a:effectLst>
          <a:outerShdw blurRad="76200" dist="12700" dir="2700000" sy="-23000" kx="-800400" algn="bl" rotWithShape="0">
            <a:prstClr val="black">
              <a:alpha val="2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  <c:userShapes r:id="rId5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747153432217104E-4"/>
          <c:y val="0.13424019618636948"/>
          <c:w val="0.77890754702913712"/>
          <c:h val="0.688756716696791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болевания</c:v>
                </c:pt>
              </c:strCache>
            </c:strRef>
          </c:tx>
          <c:spPr>
            <a:solidFill>
              <a:srgbClr val="007AAB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3.1</c:v>
                </c:pt>
                <c:pt idx="1">
                  <c:v>3.2</c:v>
                </c:pt>
                <c:pt idx="2">
                  <c:v>3.3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4</c:v>
                </c:pt>
                <c:pt idx="1">
                  <c:v>36</c:v>
                </c:pt>
                <c:pt idx="2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4E-4FFC-8187-5D9DED8D367F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35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478-4908-BCEA-98EFCDFDF6D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32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478-4908-BCEA-98EFCDFDF6D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27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478-4908-BCEA-98EFCDFDF6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3.1</c:v>
                </c:pt>
                <c:pt idx="1">
                  <c:v>3.2</c:v>
                </c:pt>
                <c:pt idx="2">
                  <c:v>3.3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359</c:v>
                </c:pt>
                <c:pt idx="1">
                  <c:v>321</c:v>
                </c:pt>
                <c:pt idx="2">
                  <c:v>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64E-4FFC-8187-5D9DED8D367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853106575"/>
        <c:axId val="1038066799"/>
      </c:barChart>
      <c:catAx>
        <c:axId val="8531065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038066799"/>
        <c:crosses val="autoZero"/>
        <c:auto val="1"/>
        <c:lblAlgn val="ctr"/>
        <c:lblOffset val="100"/>
        <c:tickMarkSkip val="1"/>
        <c:noMultiLvlLbl val="0"/>
      </c:catAx>
      <c:valAx>
        <c:axId val="103806679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531065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600"/>
      </a:pPr>
      <a:endParaRPr lang="ru-RU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Лист1!$A$2:$C$17</cx:f>
        <cx:lvl ptCount="16">
          <cx:pt idx="0">39</cx:pt>
          <cx:pt idx="1">27</cx:pt>
          <cx:pt idx="2">9</cx:pt>
          <cx:pt idx="3">8</cx:pt>
          <cx:pt idx="4">5</cx:pt>
          <cx:pt idx="5">9</cx:pt>
          <cx:pt idx="6">4</cx:pt>
          <cx:pt idx="7">24</cx:pt>
          <cx:pt idx="8">4</cx:pt>
          <cx:pt idx="9">5</cx:pt>
          <cx:pt idx="10">22</cx:pt>
          <cx:pt idx="11">37</cx:pt>
          <cx:pt idx="12">21</cx:pt>
          <cx:pt idx="13">8</cx:pt>
          <cx:pt idx="14">22</cx:pt>
          <cx:pt idx="15">5</cx:pt>
        </cx:lvl>
        <cx:lvl ptCount="16">
          <cx:pt idx="0">3.1</cx:pt>
          <cx:pt idx="1">3.2</cx:pt>
          <cx:pt idx="2">3.1</cx:pt>
          <cx:pt idx="3">3.1</cx:pt>
          <cx:pt idx="4">3.2</cx:pt>
          <cx:pt idx="5">3.2</cx:pt>
          <cx:pt idx="6">3.3</cx:pt>
          <cx:pt idx="7">3.3</cx:pt>
          <cx:pt idx="8">3.2</cx:pt>
          <cx:pt idx="9">3.2</cx:pt>
          <cx:pt idx="10">3.1</cx:pt>
          <cx:pt idx="11">3.1</cx:pt>
          <cx:pt idx="12">3.3</cx:pt>
          <cx:pt idx="13">3.1</cx:pt>
          <cx:pt idx="14">3.2</cx:pt>
          <cx:pt idx="15">3.1</cx:pt>
        </cx:lvl>
        <cx:lvl ptCount="16">
          <cx:pt idx="0">шум</cx:pt>
          <cx:pt idx="1">шум</cx:pt>
          <cx:pt idx="2">вибрация</cx:pt>
          <cx:pt idx="3">освещенность</cx:pt>
          <cx:pt idx="4">освещенность</cx:pt>
          <cx:pt idx="5">кокс, фосфорит, гипс</cx:pt>
          <cx:pt idx="6">кокс, фосфорит</cx:pt>
          <cx:pt idx="7">агломерат, шихта</cx:pt>
          <cx:pt idx="8">кварцит</cx:pt>
          <cx:pt idx="9">шихта</cx:pt>
          <cx:pt idx="10">сода</cx:pt>
          <cx:pt idx="11">фосфин</cx:pt>
          <cx:pt idx="12">фосфин</cx:pt>
          <cx:pt idx="13">фосфор (б)</cx:pt>
          <cx:pt idx="14">фосфор (б)</cx:pt>
          <cx:pt idx="15">оксид фосфора</cx:pt>
        </cx:lvl>
      </cx:strDim>
      <cx:numDim type="size">
        <cx:f>Лист1!$D$2:$D$17</cx:f>
        <cx:lvl ptCount="16" formatCode="Основной">
          <cx:pt idx="0">39</cx:pt>
          <cx:pt idx="1">27</cx:pt>
          <cx:pt idx="2">9</cx:pt>
          <cx:pt idx="3">8</cx:pt>
          <cx:pt idx="4">10</cx:pt>
          <cx:pt idx="5">9</cx:pt>
          <cx:pt idx="6">8</cx:pt>
          <cx:pt idx="7">24</cx:pt>
          <cx:pt idx="8">8</cx:pt>
          <cx:pt idx="9">10</cx:pt>
          <cx:pt idx="10">22</cx:pt>
          <cx:pt idx="11">37</cx:pt>
          <cx:pt idx="12">21</cx:pt>
          <cx:pt idx="13">16</cx:pt>
          <cx:pt idx="14">22</cx:pt>
          <cx:pt idx="15">10</cx:pt>
        </cx:lvl>
      </cx:numDim>
    </cx:data>
  </cx:chartData>
  <cx:chart>
    <cx:plotArea>
      <cx:plotAreaRegion>
        <cx:series layoutId="sunburst" uniqueId="{D1EA09C3-6DAF-4261-808E-3C472B601CE3}">
          <cx:tx>
            <cx:txData>
              <cx:f>Лист1!$D$1</cx:f>
              <cx:v>Ряд 1</cx:v>
            </cx:txData>
          </cx:tx>
          <cx:dataLabels pos="ctr">
            <cx:spPr>
              <a:noFill/>
            </cx:spPr>
            <cx:txPr>
              <a:bodyPr spcFirstLastPara="1" vertOverflow="ellipsis" wrap="square" lIns="0" tIns="0" rIns="0" bIns="0" anchor="ctr" anchorCtr="1">
                <a:spAutoFit/>
              </a:bodyPr>
              <a:lstStyle/>
              <a:p>
                <a:pPr>
                  <a:defRPr sz="900"/>
                </a:pPr>
                <a:endParaRPr lang="ru-RU" sz="900"/>
              </a:p>
            </cx:txPr>
            <cx:visibility seriesName="0" categoryName="1" value="0"/>
            <cx:separator>, </cx:separator>
            <cx:dataLabel idx="0" pos="ctr">
              <cx:txPr>
                <a:bodyPr spcFirstLastPara="1" vertOverflow="ellipsis" wrap="square" lIns="0" tIns="0" rIns="0" bIns="0" anchor="ctr" anchorCtr="1">
                  <a:spAutoFit/>
                </a:bodyPr>
                <a:lstStyle/>
                <a:p>
                  <a:pPr>
                    <a:defRPr sz="800"/>
                  </a:pPr>
                  <a:r>
                    <a:rPr lang="ru-RU" sz="700"/>
                    <a:t>шум</a:t>
                  </a:r>
                </a:p>
              </cx:txPr>
              <cx:visibility seriesName="0" categoryName="1" value="0"/>
              <cx:separator>, </cx:separator>
            </cx:dataLabel>
            <cx:dataLabel idx="1" pos="ctr">
              <cx:txPr>
                <a:bodyPr spcFirstLastPara="1" vertOverflow="ellipsis" wrap="square" lIns="0" tIns="0" rIns="0" bIns="0" anchor="ctr" anchorCtr="1">
                  <a:spAutoFit/>
                </a:bodyPr>
                <a:lstStyle/>
                <a:p>
                  <a:pPr>
                    <a:defRPr sz="800"/>
                  </a:pPr>
                  <a:r>
                    <a:rPr lang="ru-RU" sz="700"/>
                    <a:t>3.1</a:t>
                  </a:r>
                </a:p>
              </cx:txPr>
              <cx:visibility seriesName="0" categoryName="1" value="0"/>
              <cx:separator>, </cx:separator>
            </cx:dataLabel>
            <cx:dataLabel idx="2" pos="ctr">
              <cx:txPr>
                <a:bodyPr spcFirstLastPara="1" vertOverflow="ellipsis" wrap="square" lIns="0" tIns="0" rIns="0" bIns="0" anchor="ctr" anchorCtr="1">
                  <a:spAutoFit/>
                </a:bodyPr>
                <a:lstStyle/>
                <a:p>
                  <a:pPr>
                    <a:defRPr sz="800"/>
                  </a:pPr>
                  <a:r>
                    <a:rPr lang="ru-RU" sz="700"/>
                    <a:t>39</a:t>
                  </a:r>
                </a:p>
              </cx:txPr>
              <cx:visibility seriesName="0" categoryName="1" value="0"/>
              <cx:separator>, </cx:separator>
            </cx:dataLabel>
            <cx:dataLabel idx="3" pos="ctr">
              <cx:txPr>
                <a:bodyPr spcFirstLastPara="1" vertOverflow="ellipsis" wrap="square" lIns="0" tIns="0" rIns="0" bIns="0" anchor="ctr" anchorCtr="1">
                  <a:spAutoFit/>
                </a:bodyPr>
                <a:lstStyle/>
                <a:p>
                  <a:pPr>
                    <a:defRPr/>
                  </a:pPr>
                  <a:r>
                    <a:rPr lang="ru-RU" sz="700"/>
                    <a:t>3.2</a:t>
                  </a:r>
                </a:p>
              </cx:txPr>
              <cx:visibility seriesName="0" categoryName="1" value="0"/>
              <cx:separator>, </cx:separator>
            </cx:dataLabel>
            <cx:dataLabel idx="17" pos="ctr">
              <cx:txPr>
                <a:bodyPr spcFirstLastPara="1" vertOverflow="ellipsis" wrap="square" lIns="0" tIns="0" rIns="0" bIns="0" anchor="ctr" anchorCtr="1">
                  <a:spAutoFit/>
                </a:bodyPr>
                <a:lstStyle/>
                <a:p>
                  <a:pPr>
                    <a:defRPr sz="800"/>
                  </a:pPr>
                  <a:r>
                    <a:rPr lang="ru-RU" sz="700"/>
                    <a:t>3.3</a:t>
                  </a:r>
                </a:p>
              </cx:txPr>
              <cx:visibility seriesName="0" categoryName="1" value="0"/>
              <cx:separator>, </cx:separator>
            </cx:dataLabel>
            <cx:dataLabel idx="23" pos="ctr">
              <cx:txPr>
                <a:bodyPr spcFirstLastPara="1" vertOverflow="ellipsis" wrap="square" lIns="0" tIns="0" rIns="0" bIns="0" anchor="ctr" anchorCtr="1">
                  <a:spAutoFit/>
                </a:bodyPr>
                <a:lstStyle/>
                <a:p>
                  <a:pPr>
                    <a:defRPr/>
                  </a:pPr>
                  <a:r>
                    <a:rPr lang="ru-RU" sz="700"/>
                    <a:t>3.2</a:t>
                  </a:r>
                </a:p>
              </cx:txPr>
              <cx:visibility seriesName="0" categoryName="1" value="0"/>
              <cx:separator>, </cx:separator>
            </cx:dataLabel>
          </cx:dataLabels>
          <cx:dataId val="0"/>
        </cx:series>
      </cx:plotAreaRegion>
    </cx:plotArea>
    <cx:legend pos="b" align="ctr" overlay="0">
      <cx:txPr>
        <a:bodyPr spcFirstLastPara="1" vertOverflow="ellipsis" wrap="square" lIns="0" tIns="0" rIns="0" bIns="0" anchor="ctr" anchorCtr="1"/>
        <a:lstStyle/>
        <a:p>
          <a:pPr>
            <a:defRPr sz="1000">
              <a:solidFill>
                <a:prstClr val="black">
                  <a:lumMod val="65000"/>
                  <a:lumOff val="35000"/>
                </a:prstClr>
              </a:solidFill>
            </a:defRPr>
          </a:pPr>
          <a:endParaRPr lang="ru-RU" sz="1000">
            <a:solidFill>
              <a:prstClr val="black">
                <a:lumMod val="65000"/>
                <a:lumOff val="35000"/>
              </a:prstClr>
            </a:solidFill>
          </a:endParaRPr>
        </a:p>
      </cx:txPr>
    </cx:legend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8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31" kern="1200"/>
    <cs:bodyPr wrap="square" lIns="38100" tIns="19050" rIns="38100" bIns="19050" anchor="ctr">
      <a:spAutoFit/>
    </cs:bodyPr>
  </cs:dataLabel>
  <cs:dataLabelCallout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Table>
  <cs:downBar>
    <cs:lnRef idx="0"/>
    <cs:fillRef idx="0"/>
    <cs:effectRef idx="0"/>
    <cs:fontRef idx="minor">
      <a:schemeClr val="tx1"/>
    </cs:fontRef>
    <cs:spPr>
      <a:solidFill>
        <a:schemeClr val="dk1"/>
      </a:solidFill>
    </cs:spPr>
  </cs:downBar>
  <cs:dropLine>
    <cs:lnRef idx="0"/>
    <cs:fillRef idx="0"/>
    <cs:effectRef idx="0"/>
    <cs:fontRef idx="minor">
      <a:schemeClr val="tx1"/>
    </cs:fontRef>
  </cs:dropLine>
  <cs:errorBar>
    <cs:lnRef idx="0"/>
    <cs:fillRef idx="0"/>
    <cs:effectRef idx="0"/>
    <cs:fontRef idx="minor">
      <a:schemeClr val="tx1"/>
    </cs:fontRef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  <a:lumOff val="10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  <cs:bodyPr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coloredoutline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C0B14E-AEA6-48D3-A387-ED4A3A3BF840}" type="doc">
      <dgm:prSet loTypeId="urn:microsoft.com/office/officeart/2016/7/layout/AccentHomeChevronProcess" loCatId="process" qsTypeId="urn:microsoft.com/office/officeart/2005/8/quickstyle/simple1" qsCatId="simple" csTypeId="urn:microsoft.com/office/officeart/2018/5/colors/Iconchunking_coloredoutline_colorful1" csCatId="colorful" phldr="1"/>
      <dgm:spPr/>
      <dgm:t>
        <a:bodyPr rtlCol="0"/>
        <a:lstStyle/>
        <a:p>
          <a:pPr rtl="0"/>
          <a:endParaRPr lang="en-US"/>
        </a:p>
      </dgm:t>
    </dgm:pt>
    <dgm:pt modelId="{5D70EFF5-8B31-4A1F-AE44-51E4CF0013EB}">
      <dgm:prSet phldrT="[Text]" custT="1"/>
      <dgm:spPr/>
      <dgm:t>
        <a:bodyPr lIns="108000" tIns="432000" rIns="288000" rtlCol="0" anchor="t" anchorCtr="0"/>
        <a:lstStyle/>
        <a:p>
          <a:pPr algn="ctr" rtl="0">
            <a:lnSpc>
              <a:spcPts val="1500"/>
            </a:lnSpc>
          </a:pPr>
          <a:endParaRPr lang="ru-RU" sz="1200" noProof="0" dirty="0">
            <a:solidFill>
              <a:schemeClr val="tx2"/>
            </a:solidFill>
            <a:latin typeface="Century Gothic" panose="020B0502020202020204" pitchFamily="34" charset="0"/>
          </a:endParaRPr>
        </a:p>
      </dgm:t>
    </dgm:pt>
    <dgm:pt modelId="{96C720A0-FEEF-48D1-8DF6-ABA03C304822}" type="parTrans" cxnId="{E97FF64F-8020-497E-AE7D-2395DDA4560D}">
      <dgm:prSet/>
      <dgm:spPr/>
      <dgm:t>
        <a:bodyPr rtlCol="0"/>
        <a:lstStyle/>
        <a:p>
          <a:pPr rtl="0"/>
          <a:endParaRPr lang="ru-RU" noProof="0" dirty="0">
            <a:latin typeface="Century Gothic" panose="020B0502020202020204" pitchFamily="34" charset="0"/>
          </a:endParaRPr>
        </a:p>
      </dgm:t>
    </dgm:pt>
    <dgm:pt modelId="{B6A59CDE-18AD-4553-B6C5-FF001A8E8510}" type="sibTrans" cxnId="{E97FF64F-8020-497E-AE7D-2395DDA4560D}">
      <dgm:prSet/>
      <dgm:spPr/>
      <dgm:t>
        <a:bodyPr rtlCol="0"/>
        <a:lstStyle/>
        <a:p>
          <a:pPr rtl="0"/>
          <a:endParaRPr lang="ru-RU" noProof="0" dirty="0">
            <a:latin typeface="Century Gothic" panose="020B0502020202020204" pitchFamily="34" charset="0"/>
          </a:endParaRPr>
        </a:p>
      </dgm:t>
    </dgm:pt>
    <dgm:pt modelId="{D71FC021-6A65-44D1-95B9-0E6C89079866}">
      <dgm:prSet phldrT="[Text]"/>
      <dgm:spPr>
        <a:solidFill>
          <a:schemeClr val="accent3"/>
        </a:solidFill>
        <a:ln>
          <a:solidFill>
            <a:schemeClr val="accent3"/>
          </a:solidFill>
        </a:ln>
      </dgm:spPr>
      <dgm:t>
        <a:bodyPr rtlCol="0"/>
        <a:lstStyle/>
        <a:p>
          <a:pPr rtl="0"/>
          <a:endParaRPr lang="ru-RU" b="1" noProof="0" dirty="0">
            <a:effectLst>
              <a:outerShdw blurRad="50800" dist="38100" dir="2700000" algn="tl" rotWithShape="0">
                <a:schemeClr val="tx1">
                  <a:alpha val="50000"/>
                </a:schemeClr>
              </a:outerShdw>
            </a:effectLst>
            <a:latin typeface="Century Gothic" panose="020B0502020202020204" pitchFamily="34" charset="0"/>
          </a:endParaRPr>
        </a:p>
      </dgm:t>
    </dgm:pt>
    <dgm:pt modelId="{862AAE39-3AAD-40E3-BA20-90187BD73242}" type="parTrans" cxnId="{53239C96-427C-420B-95DC-546F3B30ED65}">
      <dgm:prSet/>
      <dgm:spPr/>
      <dgm:t>
        <a:bodyPr rtlCol="0"/>
        <a:lstStyle/>
        <a:p>
          <a:pPr rtl="0"/>
          <a:endParaRPr lang="ru-RU" noProof="0" dirty="0">
            <a:latin typeface="Century Gothic" panose="020B0502020202020204" pitchFamily="34" charset="0"/>
          </a:endParaRPr>
        </a:p>
      </dgm:t>
    </dgm:pt>
    <dgm:pt modelId="{9B090D9D-470E-46E2-AABB-0368A52481AA}" type="sibTrans" cxnId="{53239C96-427C-420B-95DC-546F3B30ED65}">
      <dgm:prSet/>
      <dgm:spPr/>
      <dgm:t>
        <a:bodyPr rtlCol="0"/>
        <a:lstStyle/>
        <a:p>
          <a:pPr rtl="0"/>
          <a:endParaRPr lang="ru-RU" noProof="0" dirty="0">
            <a:latin typeface="Century Gothic" panose="020B0502020202020204" pitchFamily="34" charset="0"/>
          </a:endParaRPr>
        </a:p>
      </dgm:t>
    </dgm:pt>
    <dgm:pt modelId="{4A6BB192-9983-4F48-BBC5-6E384EED7EC5}">
      <dgm:prSet phldrT="[Text]" custT="1"/>
      <dgm:spPr/>
      <dgm:t>
        <a:bodyPr lIns="108000" tIns="432000" rIns="288000" rtlCol="0" anchor="t" anchorCtr="0"/>
        <a:lstStyle/>
        <a:p>
          <a:pPr algn="ctr" rtl="0">
            <a:lnSpc>
              <a:spcPts val="1500"/>
            </a:lnSpc>
          </a:pPr>
          <a:endParaRPr lang="ru-RU" sz="1200" noProof="0" dirty="0">
            <a:solidFill>
              <a:schemeClr val="tx2"/>
            </a:solidFill>
            <a:latin typeface="Century Gothic" panose="020B0502020202020204" pitchFamily="34" charset="0"/>
          </a:endParaRPr>
        </a:p>
      </dgm:t>
    </dgm:pt>
    <dgm:pt modelId="{230A6E4A-6CED-4DC0-AEFE-6859FE07B658}" type="parTrans" cxnId="{E3115EEA-DE9C-4F06-B8B3-BEB263D5F2B1}">
      <dgm:prSet/>
      <dgm:spPr/>
      <dgm:t>
        <a:bodyPr rtlCol="0"/>
        <a:lstStyle/>
        <a:p>
          <a:pPr rtl="0"/>
          <a:endParaRPr lang="ru-RU" noProof="0" dirty="0">
            <a:latin typeface="Century Gothic" panose="020B0502020202020204" pitchFamily="34" charset="0"/>
          </a:endParaRPr>
        </a:p>
      </dgm:t>
    </dgm:pt>
    <dgm:pt modelId="{0B568EC2-5D2A-4B00-8047-B7832F245B44}" type="sibTrans" cxnId="{E3115EEA-DE9C-4F06-B8B3-BEB263D5F2B1}">
      <dgm:prSet/>
      <dgm:spPr/>
      <dgm:t>
        <a:bodyPr rtlCol="0"/>
        <a:lstStyle/>
        <a:p>
          <a:pPr rtl="0"/>
          <a:endParaRPr lang="ru-RU" noProof="0" dirty="0">
            <a:latin typeface="Century Gothic" panose="020B0502020202020204" pitchFamily="34" charset="0"/>
          </a:endParaRPr>
        </a:p>
      </dgm:t>
    </dgm:pt>
    <dgm:pt modelId="{D07AD3FD-84FF-467E-9693-752776549C61}">
      <dgm:prSet phldrT="[Text]"/>
      <dgm:spPr>
        <a:solidFill>
          <a:schemeClr val="accent2"/>
        </a:solidFill>
        <a:ln>
          <a:solidFill>
            <a:schemeClr val="accent2"/>
          </a:solidFill>
        </a:ln>
      </dgm:spPr>
      <dgm:t>
        <a:bodyPr rtlCol="0"/>
        <a:lstStyle/>
        <a:p>
          <a:pPr rtl="0"/>
          <a:endParaRPr lang="ru-RU" b="1" noProof="0" dirty="0">
            <a:effectLst>
              <a:outerShdw blurRad="50800" dist="38100" dir="2700000" algn="tl" rotWithShape="0">
                <a:schemeClr val="tx1">
                  <a:alpha val="50000"/>
                </a:schemeClr>
              </a:outerShdw>
            </a:effectLst>
            <a:latin typeface="Century Gothic" panose="020B0502020202020204" pitchFamily="34" charset="0"/>
          </a:endParaRPr>
        </a:p>
      </dgm:t>
    </dgm:pt>
    <dgm:pt modelId="{A8C9B7A9-BC2A-4753-B7F0-F2E361D95520}" type="sibTrans" cxnId="{55492768-9A5E-4F74-AC7C-959C5C24EFD3}">
      <dgm:prSet/>
      <dgm:spPr/>
      <dgm:t>
        <a:bodyPr rtlCol="0"/>
        <a:lstStyle/>
        <a:p>
          <a:pPr rtl="0"/>
          <a:endParaRPr lang="ru-RU" noProof="0" dirty="0">
            <a:latin typeface="Century Gothic" panose="020B0502020202020204" pitchFamily="34" charset="0"/>
          </a:endParaRPr>
        </a:p>
      </dgm:t>
    </dgm:pt>
    <dgm:pt modelId="{7B691773-F524-4FAD-A272-BDF0B0C4370A}" type="parTrans" cxnId="{55492768-9A5E-4F74-AC7C-959C5C24EFD3}">
      <dgm:prSet/>
      <dgm:spPr/>
      <dgm:t>
        <a:bodyPr rtlCol="0"/>
        <a:lstStyle/>
        <a:p>
          <a:pPr rtl="0"/>
          <a:endParaRPr lang="ru-RU" noProof="0" dirty="0">
            <a:latin typeface="Century Gothic" panose="020B0502020202020204" pitchFamily="34" charset="0"/>
          </a:endParaRPr>
        </a:p>
      </dgm:t>
    </dgm:pt>
    <dgm:pt modelId="{32CCB050-072A-41BF-BE1B-388CF53E5629}">
      <dgm:prSet/>
      <dgm:spPr>
        <a:solidFill>
          <a:schemeClr val="accent4"/>
        </a:solidFill>
        <a:ln>
          <a:solidFill>
            <a:schemeClr val="accent4"/>
          </a:solidFill>
        </a:ln>
      </dgm:spPr>
      <dgm:t>
        <a:bodyPr rtlCol="0"/>
        <a:lstStyle/>
        <a:p>
          <a:pPr rtl="0"/>
          <a:endParaRPr lang="ru-RU" b="1" noProof="0" dirty="0">
            <a:effectLst>
              <a:outerShdw blurRad="50800" dist="38100" dir="2700000" algn="tl" rotWithShape="0">
                <a:schemeClr val="tx1">
                  <a:alpha val="50000"/>
                </a:schemeClr>
              </a:outerShdw>
            </a:effectLst>
            <a:latin typeface="Century Gothic" panose="020B0502020202020204" pitchFamily="34" charset="0"/>
          </a:endParaRPr>
        </a:p>
      </dgm:t>
    </dgm:pt>
    <dgm:pt modelId="{B301371B-A53D-4B79-8B8D-7B304894442B}" type="parTrans" cxnId="{042E0AE1-6450-410A-B96E-AFBADB139BEA}">
      <dgm:prSet/>
      <dgm:spPr/>
      <dgm:t>
        <a:bodyPr rtlCol="0"/>
        <a:lstStyle/>
        <a:p>
          <a:pPr rtl="0"/>
          <a:endParaRPr lang="ru-RU" noProof="0" dirty="0">
            <a:latin typeface="Century Gothic" panose="020B0502020202020204" pitchFamily="34" charset="0"/>
          </a:endParaRPr>
        </a:p>
      </dgm:t>
    </dgm:pt>
    <dgm:pt modelId="{BF05D8EE-4413-4737-8721-DAF10D6CAB04}" type="sibTrans" cxnId="{042E0AE1-6450-410A-B96E-AFBADB139BEA}">
      <dgm:prSet/>
      <dgm:spPr/>
      <dgm:t>
        <a:bodyPr rtlCol="0"/>
        <a:lstStyle/>
        <a:p>
          <a:pPr rtl="0"/>
          <a:endParaRPr lang="ru-RU" noProof="0" dirty="0">
            <a:latin typeface="Century Gothic" panose="020B0502020202020204" pitchFamily="34" charset="0"/>
          </a:endParaRPr>
        </a:p>
      </dgm:t>
    </dgm:pt>
    <dgm:pt modelId="{04A40292-9119-41B2-B968-7B651F20675D}">
      <dgm:prSet custT="1"/>
      <dgm:spPr/>
      <dgm:t>
        <a:bodyPr/>
        <a:lstStyle/>
        <a:p>
          <a:pPr marL="0" lvl="0" indent="0" algn="ctr" defTabSz="533400" rtl="0">
            <a:lnSpc>
              <a:spcPts val="1500"/>
            </a:lnSpc>
            <a:spcBef>
              <a:spcPct val="0"/>
            </a:spcBef>
            <a:spcAft>
              <a:spcPts val="0"/>
            </a:spcAft>
            <a:buNone/>
          </a:pPr>
          <a:endParaRPr lang="ru-RU" sz="1200" kern="1200" noProof="0" dirty="0">
            <a:solidFill>
              <a:srgbClr val="666666"/>
            </a:solidFill>
            <a:latin typeface="Century Gothic" panose="020B0502020202020204" pitchFamily="34" charset="0"/>
            <a:ea typeface="+mn-ea"/>
            <a:cs typeface="+mn-cs"/>
          </a:endParaRPr>
        </a:p>
      </dgm:t>
    </dgm:pt>
    <dgm:pt modelId="{70078FF1-F2A9-4A6B-88D1-8CF3595EFE73}" type="parTrans" cxnId="{1D6C5464-DE30-4BEC-9E27-B2C179C39CC4}">
      <dgm:prSet/>
      <dgm:spPr/>
      <dgm:t>
        <a:bodyPr rtlCol="0"/>
        <a:lstStyle/>
        <a:p>
          <a:pPr rtl="0"/>
          <a:endParaRPr lang="ru-RU" noProof="0" dirty="0">
            <a:latin typeface="Century Gothic" panose="020B0502020202020204" pitchFamily="34" charset="0"/>
          </a:endParaRPr>
        </a:p>
      </dgm:t>
    </dgm:pt>
    <dgm:pt modelId="{B4C4972A-0898-484E-AF78-D5D7E0F991F2}" type="sibTrans" cxnId="{1D6C5464-DE30-4BEC-9E27-B2C179C39CC4}">
      <dgm:prSet/>
      <dgm:spPr/>
      <dgm:t>
        <a:bodyPr rtlCol="0"/>
        <a:lstStyle/>
        <a:p>
          <a:pPr rtl="0"/>
          <a:endParaRPr lang="ru-RU" noProof="0" dirty="0">
            <a:latin typeface="Century Gothic" panose="020B0502020202020204" pitchFamily="34" charset="0"/>
          </a:endParaRPr>
        </a:p>
      </dgm:t>
    </dgm:pt>
    <dgm:pt modelId="{AACEAFD5-63CF-4AFC-B46F-BE086C5D447C}">
      <dgm:prSet phldrT="[Text]"/>
      <dgm:spPr>
        <a:gradFill flip="none" rotWithShape="0">
          <a:gsLst>
            <a:gs pos="0">
              <a:schemeClr val="accent1">
                <a:lumMod val="75000"/>
                <a:shade val="30000"/>
                <a:satMod val="115000"/>
              </a:schemeClr>
            </a:gs>
            <a:gs pos="50000">
              <a:schemeClr val="accent1">
                <a:lumMod val="75000"/>
                <a:shade val="67500"/>
                <a:satMod val="115000"/>
              </a:schemeClr>
            </a:gs>
            <a:gs pos="100000">
              <a:schemeClr val="accent1">
                <a:lumMod val="75000"/>
                <a:shade val="100000"/>
                <a:satMod val="115000"/>
              </a:schemeClr>
            </a:gs>
          </a:gsLst>
          <a:lin ang="16200000" scaled="1"/>
          <a:tileRect/>
        </a:gradFill>
        <a:ln>
          <a:solidFill>
            <a:schemeClr val="accent1"/>
          </a:solidFill>
        </a:ln>
      </dgm:spPr>
      <dgm:t>
        <a:bodyPr rtlCol="0"/>
        <a:lstStyle/>
        <a:p>
          <a:pPr rtl="0"/>
          <a:endParaRPr lang="ru-RU" b="1" noProof="0" dirty="0">
            <a:effectLst>
              <a:outerShdw blurRad="50800" dist="38100" dir="2700000" algn="tl" rotWithShape="0">
                <a:schemeClr val="tx1">
                  <a:alpha val="50000"/>
                </a:schemeClr>
              </a:outerShdw>
            </a:effectLst>
            <a:latin typeface="Century Gothic" panose="020B0502020202020204" pitchFamily="34" charset="0"/>
          </a:endParaRPr>
        </a:p>
      </dgm:t>
    </dgm:pt>
    <dgm:pt modelId="{7A8D4B4D-06E9-4958-810D-A6226B6AC588}" type="sibTrans" cxnId="{AE101ABC-7EA3-4444-A576-8AB15A371C84}">
      <dgm:prSet/>
      <dgm:spPr/>
      <dgm:t>
        <a:bodyPr rtlCol="0"/>
        <a:lstStyle/>
        <a:p>
          <a:pPr rtl="0"/>
          <a:endParaRPr lang="ru-RU" noProof="0" dirty="0">
            <a:latin typeface="Century Gothic" panose="020B0502020202020204" pitchFamily="34" charset="0"/>
          </a:endParaRPr>
        </a:p>
      </dgm:t>
    </dgm:pt>
    <dgm:pt modelId="{7A0BD8EC-BB4A-4912-A54E-6F39B681264E}" type="parTrans" cxnId="{AE101ABC-7EA3-4444-A576-8AB15A371C84}">
      <dgm:prSet/>
      <dgm:spPr/>
      <dgm:t>
        <a:bodyPr rtlCol="0"/>
        <a:lstStyle/>
        <a:p>
          <a:pPr rtl="0"/>
          <a:endParaRPr lang="ru-RU" noProof="0" dirty="0">
            <a:latin typeface="Century Gothic" panose="020B0502020202020204" pitchFamily="34" charset="0"/>
          </a:endParaRPr>
        </a:p>
      </dgm:t>
    </dgm:pt>
    <dgm:pt modelId="{594BF422-752C-42F3-A230-3D0E6AE9A886}" type="pres">
      <dgm:prSet presAssocID="{55C0B14E-AEA6-48D3-A387-ED4A3A3BF840}" presName="Name0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6A1B9E0-4B4A-47A4-A011-67526CEEA770}" type="pres">
      <dgm:prSet presAssocID="{AACEAFD5-63CF-4AFC-B46F-BE086C5D447C}" presName="composite" presStyleCnt="0"/>
      <dgm:spPr/>
    </dgm:pt>
    <dgm:pt modelId="{FA4E6E73-A3C8-4495-927B-8AADA5A74297}" type="pres">
      <dgm:prSet presAssocID="{AACEAFD5-63CF-4AFC-B46F-BE086C5D447C}" presName="L" presStyleLbl="solidFgAcc1" presStyleIdx="0" presStyleCnt="4">
        <dgm:presLayoutVars>
          <dgm:chMax val="0"/>
          <dgm:chPref val="0"/>
        </dgm:presLayoutVars>
      </dgm:prSet>
      <dgm:spPr>
        <a:ln>
          <a:solidFill>
            <a:schemeClr val="accent1"/>
          </a:solidFill>
        </a:ln>
      </dgm:spPr>
    </dgm:pt>
    <dgm:pt modelId="{CA3A6A4E-2D39-41D2-A6B1-B590D0C452D2}" type="pres">
      <dgm:prSet presAssocID="{AACEAFD5-63CF-4AFC-B46F-BE086C5D447C}" presName="parTx" presStyleLbl="alignNode1" presStyleIdx="0" presStyleCnt="4" custLinFactNeighborX="1352" custLinFactNeighborY="-2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10D7AA7-A541-4507-BE7F-36CCF210089F}" type="pres">
      <dgm:prSet presAssocID="{AACEAFD5-63CF-4AFC-B46F-BE086C5D447C}" presName="desTx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4F7CDD44-32F1-4759-861F-8DABEBBA8D89}" type="pres">
      <dgm:prSet presAssocID="{AACEAFD5-63CF-4AFC-B46F-BE086C5D447C}" presName="EmptyPlaceHolder" presStyleCnt="0"/>
      <dgm:spPr/>
    </dgm:pt>
    <dgm:pt modelId="{C9A9B9EA-6A1D-4A13-9C7F-C112F25D2888}" type="pres">
      <dgm:prSet presAssocID="{7A8D4B4D-06E9-4958-810D-A6226B6AC588}" presName="space" presStyleCnt="0"/>
      <dgm:spPr/>
    </dgm:pt>
    <dgm:pt modelId="{EC37843F-14A6-4E20-B7AE-2B086A8F5F45}" type="pres">
      <dgm:prSet presAssocID="{D07AD3FD-84FF-467E-9693-752776549C61}" presName="composite" presStyleCnt="0"/>
      <dgm:spPr/>
    </dgm:pt>
    <dgm:pt modelId="{E41E7729-FD3F-426D-804C-45BD60BD762D}" type="pres">
      <dgm:prSet presAssocID="{D07AD3FD-84FF-467E-9693-752776549C61}" presName="L" presStyleLbl="solidFgAcc1" presStyleIdx="1" presStyleCnt="4">
        <dgm:presLayoutVars>
          <dgm:chMax val="0"/>
          <dgm:chPref val="0"/>
        </dgm:presLayoutVars>
      </dgm:prSet>
      <dgm:spPr>
        <a:ln>
          <a:solidFill>
            <a:schemeClr val="accent2"/>
          </a:solidFill>
        </a:ln>
      </dgm:spPr>
    </dgm:pt>
    <dgm:pt modelId="{6C46E586-0364-4C52-98F9-74A7ACD803D1}" type="pres">
      <dgm:prSet presAssocID="{D07AD3FD-84FF-467E-9693-752776549C61}" presName="parTx" presStyleLbl="alignNode1" presStyleIdx="1" presStyleCnt="4" custLinFactNeighborY="-8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07F9E4-149C-4A89-848F-4ABDD305F0C5}" type="pres">
      <dgm:prSet presAssocID="{D07AD3FD-84FF-467E-9693-752776549C61}" presName="desTx" presStyleLbl="revTx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928FCAD-BE3F-45AC-93A5-FD98F8A50E00}" type="pres">
      <dgm:prSet presAssocID="{D07AD3FD-84FF-467E-9693-752776549C61}" presName="EmptyPlaceHolder" presStyleCnt="0"/>
      <dgm:spPr/>
    </dgm:pt>
    <dgm:pt modelId="{C2DF8D93-19C7-4E07-BCAF-9FAAB62C8CF2}" type="pres">
      <dgm:prSet presAssocID="{A8C9B7A9-BC2A-4753-B7F0-F2E361D95520}" presName="space" presStyleCnt="0"/>
      <dgm:spPr/>
    </dgm:pt>
    <dgm:pt modelId="{86E313B1-36D3-44D7-907E-22A08CB8E9CC}" type="pres">
      <dgm:prSet presAssocID="{D71FC021-6A65-44D1-95B9-0E6C89079866}" presName="composite" presStyleCnt="0"/>
      <dgm:spPr/>
    </dgm:pt>
    <dgm:pt modelId="{473F2067-7126-4D56-A328-5A8CFD3D8D52}" type="pres">
      <dgm:prSet presAssocID="{D71FC021-6A65-44D1-95B9-0E6C89079866}" presName="L" presStyleLbl="solidFgAcc1" presStyleIdx="2" presStyleCnt="4">
        <dgm:presLayoutVars>
          <dgm:chMax val="0"/>
          <dgm:chPref val="0"/>
        </dgm:presLayoutVars>
      </dgm:prSet>
      <dgm:spPr>
        <a:ln>
          <a:solidFill>
            <a:schemeClr val="accent3"/>
          </a:solidFill>
        </a:ln>
      </dgm:spPr>
    </dgm:pt>
    <dgm:pt modelId="{7A0B5EFC-88FB-4ED5-994F-D5F6584C2293}" type="pres">
      <dgm:prSet presAssocID="{D71FC021-6A65-44D1-95B9-0E6C89079866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D7B29F2-0D66-4B4B-BC8A-82DA23575305}" type="pres">
      <dgm:prSet presAssocID="{D71FC021-6A65-44D1-95B9-0E6C89079866}" presName="desTx" presStyleLbl="revTx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BAA172-7B81-4C6B-BCF2-4572322515C5}" type="pres">
      <dgm:prSet presAssocID="{D71FC021-6A65-44D1-95B9-0E6C89079866}" presName="EmptyPlaceHolder" presStyleCnt="0"/>
      <dgm:spPr/>
    </dgm:pt>
    <dgm:pt modelId="{F5592489-4EC4-4CD3-8C9F-861313656D99}" type="pres">
      <dgm:prSet presAssocID="{9B090D9D-470E-46E2-AABB-0368A52481AA}" presName="space" presStyleCnt="0"/>
      <dgm:spPr/>
    </dgm:pt>
    <dgm:pt modelId="{62262EA1-D674-4DE8-B444-FEC3F6748520}" type="pres">
      <dgm:prSet presAssocID="{32CCB050-072A-41BF-BE1B-388CF53E5629}" presName="composite" presStyleCnt="0"/>
      <dgm:spPr/>
    </dgm:pt>
    <dgm:pt modelId="{7BF6E820-C6E3-4E2C-BB23-ADF9AD641C6B}" type="pres">
      <dgm:prSet presAssocID="{32CCB050-072A-41BF-BE1B-388CF53E5629}" presName="L" presStyleLbl="solidFgAcc1" presStyleIdx="3" presStyleCnt="4">
        <dgm:presLayoutVars>
          <dgm:chMax val="0"/>
          <dgm:chPref val="0"/>
        </dgm:presLayoutVars>
      </dgm:prSet>
      <dgm:spPr>
        <a:ln>
          <a:solidFill>
            <a:schemeClr val="accent4"/>
          </a:solidFill>
        </a:ln>
      </dgm:spPr>
    </dgm:pt>
    <dgm:pt modelId="{B8046455-4EBB-40A8-838B-B584850A8B8E}" type="pres">
      <dgm:prSet presAssocID="{32CCB050-072A-41BF-BE1B-388CF53E5629}" presName="parTx" presStyleLbl="alignNode1" presStyleIdx="3" presStyleCnt="4" custLinFactNeighborX="9831" custLinFactNeighborY="19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84544C-5924-422B-9546-A86AE4927E4C}" type="pres">
      <dgm:prSet presAssocID="{32CCB050-072A-41BF-BE1B-388CF53E5629}" presName="desTx" presStyleLbl="revTx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05E404-1B63-4FC9-A7B8-277860DEBCD0}" type="pres">
      <dgm:prSet presAssocID="{32CCB050-072A-41BF-BE1B-388CF53E5629}" presName="EmptyPlaceHolder" presStyleCnt="0"/>
      <dgm:spPr/>
    </dgm:pt>
  </dgm:ptLst>
  <dgm:cxnLst>
    <dgm:cxn modelId="{53239C96-427C-420B-95DC-546F3B30ED65}" srcId="{55C0B14E-AEA6-48D3-A387-ED4A3A3BF840}" destId="{D71FC021-6A65-44D1-95B9-0E6C89079866}" srcOrd="2" destOrd="0" parTransId="{862AAE39-3AAD-40E3-BA20-90187BD73242}" sibTransId="{9B090D9D-470E-46E2-AABB-0368A52481AA}"/>
    <dgm:cxn modelId="{1D6C5464-DE30-4BEC-9E27-B2C179C39CC4}" srcId="{32CCB050-072A-41BF-BE1B-388CF53E5629}" destId="{04A40292-9119-41B2-B968-7B651F20675D}" srcOrd="0" destOrd="0" parTransId="{70078FF1-F2A9-4A6B-88D1-8CF3595EFE73}" sibTransId="{B4C4972A-0898-484E-AF78-D5D7E0F991F2}"/>
    <dgm:cxn modelId="{410B1204-7133-46C6-97E4-E75D6D9D6E37}" type="presOf" srcId="{D71FC021-6A65-44D1-95B9-0E6C89079866}" destId="{7A0B5EFC-88FB-4ED5-994F-D5F6584C2293}" srcOrd="0" destOrd="0" presId="urn:microsoft.com/office/officeart/2016/7/layout/AccentHomeChevronProcess"/>
    <dgm:cxn modelId="{AE101ABC-7EA3-4444-A576-8AB15A371C84}" srcId="{55C0B14E-AEA6-48D3-A387-ED4A3A3BF840}" destId="{AACEAFD5-63CF-4AFC-B46F-BE086C5D447C}" srcOrd="0" destOrd="0" parTransId="{7A0BD8EC-BB4A-4912-A54E-6F39B681264E}" sibTransId="{7A8D4B4D-06E9-4958-810D-A6226B6AC588}"/>
    <dgm:cxn modelId="{042E0AE1-6450-410A-B96E-AFBADB139BEA}" srcId="{55C0B14E-AEA6-48D3-A387-ED4A3A3BF840}" destId="{32CCB050-072A-41BF-BE1B-388CF53E5629}" srcOrd="3" destOrd="0" parTransId="{B301371B-A53D-4B79-8B8D-7B304894442B}" sibTransId="{BF05D8EE-4413-4737-8721-DAF10D6CAB04}"/>
    <dgm:cxn modelId="{E3115EEA-DE9C-4F06-B8B3-BEB263D5F2B1}" srcId="{D71FC021-6A65-44D1-95B9-0E6C89079866}" destId="{4A6BB192-9983-4F48-BBC5-6E384EED7EC5}" srcOrd="0" destOrd="0" parTransId="{230A6E4A-6CED-4DC0-AEFE-6859FE07B658}" sibTransId="{0B568EC2-5D2A-4B00-8047-B7832F245B44}"/>
    <dgm:cxn modelId="{1752601D-7A94-4F90-853B-DAB0B80AA05E}" type="presOf" srcId="{4A6BB192-9983-4F48-BBC5-6E384EED7EC5}" destId="{FD7B29F2-0D66-4B4B-BC8A-82DA23575305}" srcOrd="0" destOrd="0" presId="urn:microsoft.com/office/officeart/2016/7/layout/AccentHomeChevronProcess"/>
    <dgm:cxn modelId="{55492768-9A5E-4F74-AC7C-959C5C24EFD3}" srcId="{55C0B14E-AEA6-48D3-A387-ED4A3A3BF840}" destId="{D07AD3FD-84FF-467E-9693-752776549C61}" srcOrd="1" destOrd="0" parTransId="{7B691773-F524-4FAD-A272-BDF0B0C4370A}" sibTransId="{A8C9B7A9-BC2A-4753-B7F0-F2E361D95520}"/>
    <dgm:cxn modelId="{85931FDB-3A4E-4D4F-8B24-0ECEA460D06E}" type="presOf" srcId="{55C0B14E-AEA6-48D3-A387-ED4A3A3BF840}" destId="{594BF422-752C-42F3-A230-3D0E6AE9A886}" srcOrd="0" destOrd="0" presId="urn:microsoft.com/office/officeart/2016/7/layout/AccentHomeChevronProcess"/>
    <dgm:cxn modelId="{60CF4AD0-0F9A-4BB8-AC3A-FA5632A70424}" type="presOf" srcId="{04A40292-9119-41B2-B968-7B651F20675D}" destId="{1D84544C-5924-422B-9546-A86AE4927E4C}" srcOrd="0" destOrd="0" presId="urn:microsoft.com/office/officeart/2016/7/layout/AccentHomeChevronProcess"/>
    <dgm:cxn modelId="{F1327D78-8496-4AE2-8137-06DC2809A325}" type="presOf" srcId="{D07AD3FD-84FF-467E-9693-752776549C61}" destId="{6C46E586-0364-4C52-98F9-74A7ACD803D1}" srcOrd="0" destOrd="0" presId="urn:microsoft.com/office/officeart/2016/7/layout/AccentHomeChevronProcess"/>
    <dgm:cxn modelId="{A19CBEB0-3494-4561-8759-1B29E6D0CDFC}" type="presOf" srcId="{AACEAFD5-63CF-4AFC-B46F-BE086C5D447C}" destId="{CA3A6A4E-2D39-41D2-A6B1-B590D0C452D2}" srcOrd="0" destOrd="0" presId="urn:microsoft.com/office/officeart/2016/7/layout/AccentHomeChevronProcess"/>
    <dgm:cxn modelId="{E97FF64F-8020-497E-AE7D-2395DDA4560D}" srcId="{D07AD3FD-84FF-467E-9693-752776549C61}" destId="{5D70EFF5-8B31-4A1F-AE44-51E4CF0013EB}" srcOrd="0" destOrd="0" parTransId="{96C720A0-FEEF-48D1-8DF6-ABA03C304822}" sibTransId="{B6A59CDE-18AD-4553-B6C5-FF001A8E8510}"/>
    <dgm:cxn modelId="{FFA454D9-1F95-49AD-BC4A-C6C675EEA2F6}" type="presOf" srcId="{5D70EFF5-8B31-4A1F-AE44-51E4CF0013EB}" destId="{5E07F9E4-149C-4A89-848F-4ABDD305F0C5}" srcOrd="0" destOrd="0" presId="urn:microsoft.com/office/officeart/2016/7/layout/AccentHomeChevronProcess"/>
    <dgm:cxn modelId="{C6974C38-1C2A-48D5-99A9-E0DEA82FBC86}" type="presOf" srcId="{32CCB050-072A-41BF-BE1B-388CF53E5629}" destId="{B8046455-4EBB-40A8-838B-B584850A8B8E}" srcOrd="0" destOrd="0" presId="urn:microsoft.com/office/officeart/2016/7/layout/AccentHomeChevronProcess"/>
    <dgm:cxn modelId="{F65D89BA-A61B-4F02-AC67-F769207316FA}" type="presParOf" srcId="{594BF422-752C-42F3-A230-3D0E6AE9A886}" destId="{F6A1B9E0-4B4A-47A4-A011-67526CEEA770}" srcOrd="0" destOrd="0" presId="urn:microsoft.com/office/officeart/2016/7/layout/AccentHomeChevronProcess"/>
    <dgm:cxn modelId="{73D6A45B-CC80-45FA-B5BE-D00D127DCF0D}" type="presParOf" srcId="{F6A1B9E0-4B4A-47A4-A011-67526CEEA770}" destId="{FA4E6E73-A3C8-4495-927B-8AADA5A74297}" srcOrd="0" destOrd="0" presId="urn:microsoft.com/office/officeart/2016/7/layout/AccentHomeChevronProcess"/>
    <dgm:cxn modelId="{32BAE617-0E29-48DB-8FE7-E95C83261457}" type="presParOf" srcId="{F6A1B9E0-4B4A-47A4-A011-67526CEEA770}" destId="{CA3A6A4E-2D39-41D2-A6B1-B590D0C452D2}" srcOrd="1" destOrd="0" presId="urn:microsoft.com/office/officeart/2016/7/layout/AccentHomeChevronProcess"/>
    <dgm:cxn modelId="{FD8AFB1D-FCD4-45AF-89F9-FF21EE14892F}" type="presParOf" srcId="{F6A1B9E0-4B4A-47A4-A011-67526CEEA770}" destId="{810D7AA7-A541-4507-BE7F-36CCF210089F}" srcOrd="2" destOrd="0" presId="urn:microsoft.com/office/officeart/2016/7/layout/AccentHomeChevronProcess"/>
    <dgm:cxn modelId="{812BFBDC-907C-404E-8D36-50E3037848C5}" type="presParOf" srcId="{F6A1B9E0-4B4A-47A4-A011-67526CEEA770}" destId="{4F7CDD44-32F1-4759-861F-8DABEBBA8D89}" srcOrd="3" destOrd="0" presId="urn:microsoft.com/office/officeart/2016/7/layout/AccentHomeChevronProcess"/>
    <dgm:cxn modelId="{9E865C7E-34A2-407B-9C9F-EB9D7F4B16E4}" type="presParOf" srcId="{594BF422-752C-42F3-A230-3D0E6AE9A886}" destId="{C9A9B9EA-6A1D-4A13-9C7F-C112F25D2888}" srcOrd="1" destOrd="0" presId="urn:microsoft.com/office/officeart/2016/7/layout/AccentHomeChevronProcess"/>
    <dgm:cxn modelId="{AF3F61CA-87E2-40D3-B203-AA18818F3F85}" type="presParOf" srcId="{594BF422-752C-42F3-A230-3D0E6AE9A886}" destId="{EC37843F-14A6-4E20-B7AE-2B086A8F5F45}" srcOrd="2" destOrd="0" presId="urn:microsoft.com/office/officeart/2016/7/layout/AccentHomeChevronProcess"/>
    <dgm:cxn modelId="{E3AE1312-B250-4E62-AEA7-691CAEED678B}" type="presParOf" srcId="{EC37843F-14A6-4E20-B7AE-2B086A8F5F45}" destId="{E41E7729-FD3F-426D-804C-45BD60BD762D}" srcOrd="0" destOrd="0" presId="urn:microsoft.com/office/officeart/2016/7/layout/AccentHomeChevronProcess"/>
    <dgm:cxn modelId="{157FB8C1-144F-45C7-B1EB-8C0E19736269}" type="presParOf" srcId="{EC37843F-14A6-4E20-B7AE-2B086A8F5F45}" destId="{6C46E586-0364-4C52-98F9-74A7ACD803D1}" srcOrd="1" destOrd="0" presId="urn:microsoft.com/office/officeart/2016/7/layout/AccentHomeChevronProcess"/>
    <dgm:cxn modelId="{4370033D-63EC-4CA8-9E10-C098EB96FAE1}" type="presParOf" srcId="{EC37843F-14A6-4E20-B7AE-2B086A8F5F45}" destId="{5E07F9E4-149C-4A89-848F-4ABDD305F0C5}" srcOrd="2" destOrd="0" presId="urn:microsoft.com/office/officeart/2016/7/layout/AccentHomeChevronProcess"/>
    <dgm:cxn modelId="{90ADB152-B719-4C73-8AD7-9D6099B9ECA4}" type="presParOf" srcId="{EC37843F-14A6-4E20-B7AE-2B086A8F5F45}" destId="{2928FCAD-BE3F-45AC-93A5-FD98F8A50E00}" srcOrd="3" destOrd="0" presId="urn:microsoft.com/office/officeart/2016/7/layout/AccentHomeChevronProcess"/>
    <dgm:cxn modelId="{88CC72C8-1B49-42A7-BEAB-0F44A947CE19}" type="presParOf" srcId="{594BF422-752C-42F3-A230-3D0E6AE9A886}" destId="{C2DF8D93-19C7-4E07-BCAF-9FAAB62C8CF2}" srcOrd="3" destOrd="0" presId="urn:microsoft.com/office/officeart/2016/7/layout/AccentHomeChevronProcess"/>
    <dgm:cxn modelId="{153FCB6E-2368-4F51-9CBD-B019930497A1}" type="presParOf" srcId="{594BF422-752C-42F3-A230-3D0E6AE9A886}" destId="{86E313B1-36D3-44D7-907E-22A08CB8E9CC}" srcOrd="4" destOrd="0" presId="urn:microsoft.com/office/officeart/2016/7/layout/AccentHomeChevronProcess"/>
    <dgm:cxn modelId="{CC0F6FE0-4DF8-4FF8-9AD5-67EC845913DD}" type="presParOf" srcId="{86E313B1-36D3-44D7-907E-22A08CB8E9CC}" destId="{473F2067-7126-4D56-A328-5A8CFD3D8D52}" srcOrd="0" destOrd="0" presId="urn:microsoft.com/office/officeart/2016/7/layout/AccentHomeChevronProcess"/>
    <dgm:cxn modelId="{A2560CAD-896B-481A-8AE7-7769D5A77346}" type="presParOf" srcId="{86E313B1-36D3-44D7-907E-22A08CB8E9CC}" destId="{7A0B5EFC-88FB-4ED5-994F-D5F6584C2293}" srcOrd="1" destOrd="0" presId="urn:microsoft.com/office/officeart/2016/7/layout/AccentHomeChevronProcess"/>
    <dgm:cxn modelId="{2E5A3C28-8D37-408B-B58C-C7CF84981CAA}" type="presParOf" srcId="{86E313B1-36D3-44D7-907E-22A08CB8E9CC}" destId="{FD7B29F2-0D66-4B4B-BC8A-82DA23575305}" srcOrd="2" destOrd="0" presId="urn:microsoft.com/office/officeart/2016/7/layout/AccentHomeChevronProcess"/>
    <dgm:cxn modelId="{4C56721D-6400-4C99-9F19-074D84AE32A9}" type="presParOf" srcId="{86E313B1-36D3-44D7-907E-22A08CB8E9CC}" destId="{BABAA172-7B81-4C6B-BCF2-4572322515C5}" srcOrd="3" destOrd="0" presId="urn:microsoft.com/office/officeart/2016/7/layout/AccentHomeChevronProcess"/>
    <dgm:cxn modelId="{A1DB1D5C-E668-4195-A38E-5B3100359B0E}" type="presParOf" srcId="{594BF422-752C-42F3-A230-3D0E6AE9A886}" destId="{F5592489-4EC4-4CD3-8C9F-861313656D99}" srcOrd="5" destOrd="0" presId="urn:microsoft.com/office/officeart/2016/7/layout/AccentHomeChevronProcess"/>
    <dgm:cxn modelId="{F5971175-BB06-42A2-A56A-22BC8DF42319}" type="presParOf" srcId="{594BF422-752C-42F3-A230-3D0E6AE9A886}" destId="{62262EA1-D674-4DE8-B444-FEC3F6748520}" srcOrd="6" destOrd="0" presId="urn:microsoft.com/office/officeart/2016/7/layout/AccentHomeChevronProcess"/>
    <dgm:cxn modelId="{409687FD-6877-4FC7-B469-878EAAB09FC8}" type="presParOf" srcId="{62262EA1-D674-4DE8-B444-FEC3F6748520}" destId="{7BF6E820-C6E3-4E2C-BB23-ADF9AD641C6B}" srcOrd="0" destOrd="0" presId="urn:microsoft.com/office/officeart/2016/7/layout/AccentHomeChevronProcess"/>
    <dgm:cxn modelId="{EBAE140B-F8F3-449A-8F90-C58331B1973F}" type="presParOf" srcId="{62262EA1-D674-4DE8-B444-FEC3F6748520}" destId="{B8046455-4EBB-40A8-838B-B584850A8B8E}" srcOrd="1" destOrd="0" presId="urn:microsoft.com/office/officeart/2016/7/layout/AccentHomeChevronProcess"/>
    <dgm:cxn modelId="{2034E90E-602C-4763-BEF7-7DEC3C26D1B3}" type="presParOf" srcId="{62262EA1-D674-4DE8-B444-FEC3F6748520}" destId="{1D84544C-5924-422B-9546-A86AE4927E4C}" srcOrd="2" destOrd="0" presId="urn:microsoft.com/office/officeart/2016/7/layout/AccentHomeChevronProcess"/>
    <dgm:cxn modelId="{50DB862B-F7EB-4BFF-B72D-5009073BF706}" type="presParOf" srcId="{62262EA1-D674-4DE8-B444-FEC3F6748520}" destId="{ED05E404-1B63-4FC9-A7B8-277860DEBCD0}" srcOrd="3" destOrd="0" presId="urn:microsoft.com/office/officeart/2016/7/layout/AccentHomeChevro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F3CC77A-2E7D-459B-9F50-0A67A6DC4E71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493E6731-F892-447B-BA6D-B363576D8887}">
      <dgm:prSet phldrT="[Текст]" custT="1"/>
      <dgm:spPr>
        <a:solidFill>
          <a:srgbClr val="BDCBD9"/>
        </a:solidFill>
      </dgm:spPr>
      <dgm:t>
        <a:bodyPr/>
        <a:lstStyle/>
        <a:p>
          <a:r>
            <a:rPr lang="ru-RU" altLang="ru-RU" sz="12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тбор объектов </a:t>
          </a:r>
          <a:r>
            <a:rPr lang="ru-RU" altLang="ru-RU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(площадок)</a:t>
          </a:r>
          <a:r>
            <a:rPr lang="ru-RU" altLang="ru-RU" sz="12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ru-RU" altLang="ru-RU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для «пилотной» апробации</a:t>
          </a:r>
          <a:endParaRPr lang="ru-RU" sz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AD4BE27-1301-4D74-BFE3-2EB08EF32369}" type="parTrans" cxnId="{D9CDD829-B58E-4B9F-8611-9AFAAC19435F}">
      <dgm:prSet/>
      <dgm:spPr/>
      <dgm:t>
        <a:bodyPr/>
        <a:lstStyle/>
        <a:p>
          <a:endParaRPr lang="ru-RU"/>
        </a:p>
      </dgm:t>
    </dgm:pt>
    <dgm:pt modelId="{744443CF-0506-4A8D-B8B4-50756B3FF530}" type="sibTrans" cxnId="{D9CDD829-B58E-4B9F-8611-9AFAAC19435F}">
      <dgm:prSet/>
      <dgm:spPr>
        <a:noFill/>
        <a:ln>
          <a:solidFill>
            <a:srgbClr val="5F7895"/>
          </a:solidFill>
        </a:ln>
      </dgm:spPr>
      <dgm:t>
        <a:bodyPr/>
        <a:lstStyle/>
        <a:p>
          <a:endParaRPr lang="ru-RU"/>
        </a:p>
      </dgm:t>
    </dgm:pt>
    <dgm:pt modelId="{77141585-F3A2-4ECF-A800-FBF6C7FEF95C}">
      <dgm:prSet phldrT="[Текст]" custT="1"/>
      <dgm:spPr>
        <a:solidFill>
          <a:srgbClr val="BDCBD9"/>
        </a:solidFill>
      </dgm:spPr>
      <dgm:t>
        <a:bodyPr/>
        <a:lstStyle/>
        <a:p>
          <a:r>
            <a:rPr lang="ru-RU" altLang="ru-RU" sz="12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Установочные совещания</a:t>
          </a:r>
          <a:r>
            <a:rPr lang="ru-RU" altLang="ru-RU" sz="12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, </a:t>
          </a:r>
          <a:r>
            <a:rPr lang="ru-RU" altLang="ru-RU" sz="1200" b="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рабочие консультации по вопросам взаимодействия </a:t>
          </a:r>
          <a:endParaRPr lang="ru-RU" sz="1200" b="0" dirty="0">
            <a:solidFill>
              <a:prstClr val="black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FB6768E-BB13-4B27-8C5D-B7B0B71587F8}" type="parTrans" cxnId="{D138C4F7-4937-4DE6-913C-C7FDCD13840F}">
      <dgm:prSet/>
      <dgm:spPr/>
      <dgm:t>
        <a:bodyPr/>
        <a:lstStyle/>
        <a:p>
          <a:endParaRPr lang="ru-RU"/>
        </a:p>
      </dgm:t>
    </dgm:pt>
    <dgm:pt modelId="{17866607-C194-4002-BF33-59866940CF9F}" type="sibTrans" cxnId="{D138C4F7-4937-4DE6-913C-C7FDCD13840F}">
      <dgm:prSet/>
      <dgm:spPr>
        <a:solidFill>
          <a:schemeClr val="bg1"/>
        </a:solidFill>
        <a:ln>
          <a:solidFill>
            <a:srgbClr val="5F7895"/>
          </a:solidFill>
        </a:ln>
      </dgm:spPr>
      <dgm:t>
        <a:bodyPr/>
        <a:lstStyle/>
        <a:p>
          <a:endParaRPr lang="ru-RU"/>
        </a:p>
      </dgm:t>
    </dgm:pt>
    <dgm:pt modelId="{1D0EE33E-F1AF-47F1-AB82-70DA57BD086B}">
      <dgm:prSet phldrT="[Текст]" custT="1"/>
      <dgm:spPr>
        <a:solidFill>
          <a:srgbClr val="BDCBD9"/>
        </a:solidFill>
      </dgm:spPr>
      <dgm:t>
        <a:bodyPr/>
        <a:lstStyle/>
        <a:p>
          <a:r>
            <a:rPr lang="ru-RU" altLang="ru-RU" sz="12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одписание соглашений </a:t>
          </a:r>
          <a:r>
            <a:rPr lang="ru-RU" altLang="ru-RU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 сотрудничестве </a:t>
          </a:r>
          <a:r>
            <a:rPr lang="ru-RU" altLang="ru-RU" sz="1200" dirty="0" err="1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стейкхолдеров</a:t>
          </a:r>
          <a:endParaRPr lang="ru-RU" altLang="ru-RU" sz="1200" dirty="0">
            <a:solidFill>
              <a:prstClr val="black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7B4E682-3639-4B6D-ABF4-AA62364E87B3}" type="parTrans" cxnId="{AF6F5ECB-243E-4E61-AAA9-193A1E8BBDF5}">
      <dgm:prSet/>
      <dgm:spPr/>
      <dgm:t>
        <a:bodyPr/>
        <a:lstStyle/>
        <a:p>
          <a:endParaRPr lang="ru-RU"/>
        </a:p>
      </dgm:t>
    </dgm:pt>
    <dgm:pt modelId="{D2DC2540-EC95-42FC-9FB9-7AA1EC2048C4}" type="sibTrans" cxnId="{AF6F5ECB-243E-4E61-AAA9-193A1E8BBDF5}">
      <dgm:prSet/>
      <dgm:spPr>
        <a:solidFill>
          <a:schemeClr val="bg1"/>
        </a:solidFill>
        <a:ln>
          <a:solidFill>
            <a:srgbClr val="5F7895"/>
          </a:solidFill>
        </a:ln>
      </dgm:spPr>
      <dgm:t>
        <a:bodyPr/>
        <a:lstStyle/>
        <a:p>
          <a:endParaRPr lang="ru-RU"/>
        </a:p>
      </dgm:t>
    </dgm:pt>
    <dgm:pt modelId="{161E33D6-9282-4EAE-8AB3-9609D65B9F48}">
      <dgm:prSet phldrT="[Текст]" custT="1"/>
      <dgm:spPr>
        <a:solidFill>
          <a:srgbClr val="BDCBD9"/>
        </a:solidFill>
      </dgm:spPr>
      <dgm:t>
        <a:bodyPr anchor="t"/>
        <a:lstStyle/>
        <a:p>
          <a:r>
            <a:rPr lang="ru-RU" altLang="ru-RU" sz="1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 </a:t>
          </a:r>
          <a:r>
            <a:rPr lang="ru-RU" altLang="ru-RU" sz="1000" b="1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Реализация Плана </a:t>
          </a:r>
          <a:r>
            <a:rPr lang="ru-RU" altLang="ru-RU" sz="1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мероприятий по пилотной апробации новых подходов и механизмов (методик, цифровых инструментов)</a:t>
          </a:r>
        </a:p>
        <a:p>
          <a:endParaRPr lang="ru-RU" altLang="ru-RU" sz="700" dirty="0">
            <a:solidFill>
              <a:prstClr val="black"/>
            </a:solidFill>
            <a:latin typeface="Arial" panose="020B0604020202020204" pitchFamily="34" charset="0"/>
            <a:ea typeface="Calibri" panose="020F0502020204030204" pitchFamily="34" charset="0"/>
            <a:cs typeface="Arial" panose="020B0604020202020204" pitchFamily="34" charset="0"/>
          </a:endParaRPr>
        </a:p>
      </dgm:t>
    </dgm:pt>
    <dgm:pt modelId="{7467F850-BBDE-4727-9858-011CC8521EF7}" type="parTrans" cxnId="{68211C56-21A0-426F-8277-35F600F63E32}">
      <dgm:prSet/>
      <dgm:spPr/>
      <dgm:t>
        <a:bodyPr/>
        <a:lstStyle/>
        <a:p>
          <a:endParaRPr lang="ru-RU"/>
        </a:p>
      </dgm:t>
    </dgm:pt>
    <dgm:pt modelId="{BD34274F-252D-4846-96CE-1B6C49D01854}" type="sibTrans" cxnId="{68211C56-21A0-426F-8277-35F600F63E32}">
      <dgm:prSet/>
      <dgm:spPr/>
      <dgm:t>
        <a:bodyPr/>
        <a:lstStyle/>
        <a:p>
          <a:endParaRPr lang="ru-RU"/>
        </a:p>
      </dgm:t>
    </dgm:pt>
    <dgm:pt modelId="{126133A5-B944-43C6-8A3F-62CA02532618}" type="pres">
      <dgm:prSet presAssocID="{4F3CC77A-2E7D-459B-9F50-0A67A6DC4E71}" presName="Name0" presStyleCnt="0">
        <dgm:presLayoutVars>
          <dgm:dir/>
          <dgm:resizeHandles val="exact"/>
        </dgm:presLayoutVars>
      </dgm:prSet>
      <dgm:spPr/>
    </dgm:pt>
    <dgm:pt modelId="{305ABEDF-8FB8-4D98-8C44-4DB976BFAF48}" type="pres">
      <dgm:prSet presAssocID="{493E6731-F892-447B-BA6D-B363576D8887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CF29422-8D24-4F3B-ADB7-731DAACEB52B}" type="pres">
      <dgm:prSet presAssocID="{744443CF-0506-4A8D-B8B4-50756B3FF530}" presName="sibTrans" presStyleLbl="sibTrans2D1" presStyleIdx="0" presStyleCnt="3" custScaleY="35497"/>
      <dgm:spPr/>
      <dgm:t>
        <a:bodyPr/>
        <a:lstStyle/>
        <a:p>
          <a:endParaRPr lang="ru-RU"/>
        </a:p>
      </dgm:t>
    </dgm:pt>
    <dgm:pt modelId="{449CC557-6FE6-4C8A-852A-4919CF3AE265}" type="pres">
      <dgm:prSet presAssocID="{744443CF-0506-4A8D-B8B4-50756B3FF530}" presName="connectorText" presStyleLbl="sibTrans2D1" presStyleIdx="0" presStyleCnt="3"/>
      <dgm:spPr/>
      <dgm:t>
        <a:bodyPr/>
        <a:lstStyle/>
        <a:p>
          <a:endParaRPr lang="ru-RU"/>
        </a:p>
      </dgm:t>
    </dgm:pt>
    <dgm:pt modelId="{AA9EDFAF-DA13-4929-B764-A9552A912D30}" type="pres">
      <dgm:prSet presAssocID="{77141585-F3A2-4ECF-A800-FBF6C7FEF95C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DFF002-2E66-4C89-8CF3-9224AAFAC121}" type="pres">
      <dgm:prSet presAssocID="{17866607-C194-4002-BF33-59866940CF9F}" presName="sibTrans" presStyleLbl="sibTrans2D1" presStyleIdx="1" presStyleCnt="3" custScaleY="35497"/>
      <dgm:spPr/>
      <dgm:t>
        <a:bodyPr/>
        <a:lstStyle/>
        <a:p>
          <a:endParaRPr lang="ru-RU"/>
        </a:p>
      </dgm:t>
    </dgm:pt>
    <dgm:pt modelId="{D627CC33-B45D-4D35-A632-D8A7B71CA6D7}" type="pres">
      <dgm:prSet presAssocID="{17866607-C194-4002-BF33-59866940CF9F}" presName="connectorText" presStyleLbl="sibTrans2D1" presStyleIdx="1" presStyleCnt="3"/>
      <dgm:spPr/>
      <dgm:t>
        <a:bodyPr/>
        <a:lstStyle/>
        <a:p>
          <a:endParaRPr lang="ru-RU"/>
        </a:p>
      </dgm:t>
    </dgm:pt>
    <dgm:pt modelId="{FAD3456C-0589-4B8B-9602-F1BA543C62D0}" type="pres">
      <dgm:prSet presAssocID="{1D0EE33E-F1AF-47F1-AB82-70DA57BD086B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9D7D563-5C4C-4467-B665-D2C1D0854B58}" type="pres">
      <dgm:prSet presAssocID="{D2DC2540-EC95-42FC-9FB9-7AA1EC2048C4}" presName="sibTrans" presStyleLbl="sibTrans2D1" presStyleIdx="2" presStyleCnt="3" custScaleY="35497"/>
      <dgm:spPr/>
      <dgm:t>
        <a:bodyPr/>
        <a:lstStyle/>
        <a:p>
          <a:endParaRPr lang="ru-RU"/>
        </a:p>
      </dgm:t>
    </dgm:pt>
    <dgm:pt modelId="{7D91E8C5-F378-49B9-A413-B25A69D4DFE4}" type="pres">
      <dgm:prSet presAssocID="{D2DC2540-EC95-42FC-9FB9-7AA1EC2048C4}" presName="connectorText" presStyleLbl="sibTrans2D1" presStyleIdx="2" presStyleCnt="3"/>
      <dgm:spPr/>
      <dgm:t>
        <a:bodyPr/>
        <a:lstStyle/>
        <a:p>
          <a:endParaRPr lang="ru-RU"/>
        </a:p>
      </dgm:t>
    </dgm:pt>
    <dgm:pt modelId="{9B161DB5-6343-401A-B8E4-BCB73E13C156}" type="pres">
      <dgm:prSet presAssocID="{161E33D6-9282-4EAE-8AB3-9609D65B9F48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F6F5ECB-243E-4E61-AAA9-193A1E8BBDF5}" srcId="{4F3CC77A-2E7D-459B-9F50-0A67A6DC4E71}" destId="{1D0EE33E-F1AF-47F1-AB82-70DA57BD086B}" srcOrd="2" destOrd="0" parTransId="{97B4E682-3639-4B6D-ABF4-AA62364E87B3}" sibTransId="{D2DC2540-EC95-42FC-9FB9-7AA1EC2048C4}"/>
    <dgm:cxn modelId="{823060BA-820E-49B1-82DB-5CA6CEC04DE7}" type="presOf" srcId="{D2DC2540-EC95-42FC-9FB9-7AA1EC2048C4}" destId="{B9D7D563-5C4C-4467-B665-D2C1D0854B58}" srcOrd="0" destOrd="0" presId="urn:microsoft.com/office/officeart/2005/8/layout/process1"/>
    <dgm:cxn modelId="{040A1E67-9037-48F2-8667-9DDB146E02DB}" type="presOf" srcId="{744443CF-0506-4A8D-B8B4-50756B3FF530}" destId="{6CF29422-8D24-4F3B-ADB7-731DAACEB52B}" srcOrd="0" destOrd="0" presId="urn:microsoft.com/office/officeart/2005/8/layout/process1"/>
    <dgm:cxn modelId="{7A731B96-61F5-4AD5-A36E-4FB045D53885}" type="presOf" srcId="{77141585-F3A2-4ECF-A800-FBF6C7FEF95C}" destId="{AA9EDFAF-DA13-4929-B764-A9552A912D30}" srcOrd="0" destOrd="0" presId="urn:microsoft.com/office/officeart/2005/8/layout/process1"/>
    <dgm:cxn modelId="{0F1FDDEA-0EE5-49FE-B765-1EF3389CD911}" type="presOf" srcId="{493E6731-F892-447B-BA6D-B363576D8887}" destId="{305ABEDF-8FB8-4D98-8C44-4DB976BFAF48}" srcOrd="0" destOrd="0" presId="urn:microsoft.com/office/officeart/2005/8/layout/process1"/>
    <dgm:cxn modelId="{9314CC8E-36C8-4748-A8B4-B25452190D04}" type="presOf" srcId="{1D0EE33E-F1AF-47F1-AB82-70DA57BD086B}" destId="{FAD3456C-0589-4B8B-9602-F1BA543C62D0}" srcOrd="0" destOrd="0" presId="urn:microsoft.com/office/officeart/2005/8/layout/process1"/>
    <dgm:cxn modelId="{20E47211-7AEB-41FC-B7E2-AE300AC3A3DE}" type="presOf" srcId="{4F3CC77A-2E7D-459B-9F50-0A67A6DC4E71}" destId="{126133A5-B944-43C6-8A3F-62CA02532618}" srcOrd="0" destOrd="0" presId="urn:microsoft.com/office/officeart/2005/8/layout/process1"/>
    <dgm:cxn modelId="{68211C56-21A0-426F-8277-35F600F63E32}" srcId="{4F3CC77A-2E7D-459B-9F50-0A67A6DC4E71}" destId="{161E33D6-9282-4EAE-8AB3-9609D65B9F48}" srcOrd="3" destOrd="0" parTransId="{7467F850-BBDE-4727-9858-011CC8521EF7}" sibTransId="{BD34274F-252D-4846-96CE-1B6C49D01854}"/>
    <dgm:cxn modelId="{2A4DA956-8D67-45F8-A94D-EE89B993A2B1}" type="presOf" srcId="{744443CF-0506-4A8D-B8B4-50756B3FF530}" destId="{449CC557-6FE6-4C8A-852A-4919CF3AE265}" srcOrd="1" destOrd="0" presId="urn:microsoft.com/office/officeart/2005/8/layout/process1"/>
    <dgm:cxn modelId="{CDE37077-197F-4492-9E56-B0577E57846C}" type="presOf" srcId="{17866607-C194-4002-BF33-59866940CF9F}" destId="{B7DFF002-2E66-4C89-8CF3-9224AAFAC121}" srcOrd="0" destOrd="0" presId="urn:microsoft.com/office/officeart/2005/8/layout/process1"/>
    <dgm:cxn modelId="{D9CDD829-B58E-4B9F-8611-9AFAAC19435F}" srcId="{4F3CC77A-2E7D-459B-9F50-0A67A6DC4E71}" destId="{493E6731-F892-447B-BA6D-B363576D8887}" srcOrd="0" destOrd="0" parTransId="{9AD4BE27-1301-4D74-BFE3-2EB08EF32369}" sibTransId="{744443CF-0506-4A8D-B8B4-50756B3FF530}"/>
    <dgm:cxn modelId="{690D2AB1-53A9-4B73-9235-0102E56503B6}" type="presOf" srcId="{D2DC2540-EC95-42FC-9FB9-7AA1EC2048C4}" destId="{7D91E8C5-F378-49B9-A413-B25A69D4DFE4}" srcOrd="1" destOrd="0" presId="urn:microsoft.com/office/officeart/2005/8/layout/process1"/>
    <dgm:cxn modelId="{D138C4F7-4937-4DE6-913C-C7FDCD13840F}" srcId="{4F3CC77A-2E7D-459B-9F50-0A67A6DC4E71}" destId="{77141585-F3A2-4ECF-A800-FBF6C7FEF95C}" srcOrd="1" destOrd="0" parTransId="{EFB6768E-BB13-4B27-8C5D-B7B0B71587F8}" sibTransId="{17866607-C194-4002-BF33-59866940CF9F}"/>
    <dgm:cxn modelId="{72B99EB9-DABA-41C9-BC7B-147F4466D123}" type="presOf" srcId="{17866607-C194-4002-BF33-59866940CF9F}" destId="{D627CC33-B45D-4D35-A632-D8A7B71CA6D7}" srcOrd="1" destOrd="0" presId="urn:microsoft.com/office/officeart/2005/8/layout/process1"/>
    <dgm:cxn modelId="{160BD14C-A10C-44B8-BEA3-193197458D79}" type="presOf" srcId="{161E33D6-9282-4EAE-8AB3-9609D65B9F48}" destId="{9B161DB5-6343-401A-B8E4-BCB73E13C156}" srcOrd="0" destOrd="0" presId="urn:microsoft.com/office/officeart/2005/8/layout/process1"/>
    <dgm:cxn modelId="{92219F61-C6EF-4DB0-8836-AEB6A578D442}" type="presParOf" srcId="{126133A5-B944-43C6-8A3F-62CA02532618}" destId="{305ABEDF-8FB8-4D98-8C44-4DB976BFAF48}" srcOrd="0" destOrd="0" presId="urn:microsoft.com/office/officeart/2005/8/layout/process1"/>
    <dgm:cxn modelId="{632BFE3C-9B73-4868-93C4-ED28C2803127}" type="presParOf" srcId="{126133A5-B944-43C6-8A3F-62CA02532618}" destId="{6CF29422-8D24-4F3B-ADB7-731DAACEB52B}" srcOrd="1" destOrd="0" presId="urn:microsoft.com/office/officeart/2005/8/layout/process1"/>
    <dgm:cxn modelId="{7A14A3C8-42F7-4818-982A-64BB7FF6A780}" type="presParOf" srcId="{6CF29422-8D24-4F3B-ADB7-731DAACEB52B}" destId="{449CC557-6FE6-4C8A-852A-4919CF3AE265}" srcOrd="0" destOrd="0" presId="urn:microsoft.com/office/officeart/2005/8/layout/process1"/>
    <dgm:cxn modelId="{A86C15A0-1AAC-4332-B3DF-4BC473F93424}" type="presParOf" srcId="{126133A5-B944-43C6-8A3F-62CA02532618}" destId="{AA9EDFAF-DA13-4929-B764-A9552A912D30}" srcOrd="2" destOrd="0" presId="urn:microsoft.com/office/officeart/2005/8/layout/process1"/>
    <dgm:cxn modelId="{3FEC0C37-FD45-488D-9370-46F79330BCDA}" type="presParOf" srcId="{126133A5-B944-43C6-8A3F-62CA02532618}" destId="{B7DFF002-2E66-4C89-8CF3-9224AAFAC121}" srcOrd="3" destOrd="0" presId="urn:microsoft.com/office/officeart/2005/8/layout/process1"/>
    <dgm:cxn modelId="{9291382F-B830-4BAA-9B0A-21DC3810A397}" type="presParOf" srcId="{B7DFF002-2E66-4C89-8CF3-9224AAFAC121}" destId="{D627CC33-B45D-4D35-A632-D8A7B71CA6D7}" srcOrd="0" destOrd="0" presId="urn:microsoft.com/office/officeart/2005/8/layout/process1"/>
    <dgm:cxn modelId="{501CC610-B487-4836-BF5C-CBAF67F0DCF1}" type="presParOf" srcId="{126133A5-B944-43C6-8A3F-62CA02532618}" destId="{FAD3456C-0589-4B8B-9602-F1BA543C62D0}" srcOrd="4" destOrd="0" presId="urn:microsoft.com/office/officeart/2005/8/layout/process1"/>
    <dgm:cxn modelId="{42197501-A17A-480F-8632-EF70D063ACD1}" type="presParOf" srcId="{126133A5-B944-43C6-8A3F-62CA02532618}" destId="{B9D7D563-5C4C-4467-B665-D2C1D0854B58}" srcOrd="5" destOrd="0" presId="urn:microsoft.com/office/officeart/2005/8/layout/process1"/>
    <dgm:cxn modelId="{F3324A42-AB8D-46C4-B4BA-9880E82D107E}" type="presParOf" srcId="{B9D7D563-5C4C-4467-B665-D2C1D0854B58}" destId="{7D91E8C5-F378-49B9-A413-B25A69D4DFE4}" srcOrd="0" destOrd="0" presId="urn:microsoft.com/office/officeart/2005/8/layout/process1"/>
    <dgm:cxn modelId="{A7A95E48-7108-4F14-ACDD-C3A6259D4A2C}" type="presParOf" srcId="{126133A5-B944-43C6-8A3F-62CA02532618}" destId="{9B161DB5-6343-401A-B8E4-BCB73E13C156}" srcOrd="6" destOrd="0" presId="urn:microsoft.com/office/officeart/2005/8/layout/process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BB380A8-90C1-4F26-9DEC-6CB5F35DB145}" type="doc">
      <dgm:prSet loTypeId="urn:microsoft.com/office/officeart/2005/8/layout/b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1C243F4-6676-40E0-AF4C-84C0A96682AB}">
      <dgm:prSet phldrT="[Текст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ru-RU" sz="1800" b="1" spc="120" dirty="0">
              <a:solidFill>
                <a:schemeClr val="tx1"/>
              </a:solidFill>
            </a:rPr>
            <a:t>1. </a:t>
          </a:r>
          <a:r>
            <a:rPr lang="ru-RU" sz="1000" b="1" spc="120" dirty="0">
              <a:solidFill>
                <a:schemeClr val="tx1"/>
              </a:solidFill>
            </a:rPr>
            <a:t>Определение факторов и рисков на рабочем месте для каждого работника по результатам ОПР</a:t>
          </a:r>
        </a:p>
        <a:p>
          <a:r>
            <a:rPr lang="ru-RU" altLang="ru-RU" sz="900" i="1" dirty="0">
              <a:solidFill>
                <a:schemeClr val="tx1"/>
              </a:solidFill>
            </a:rPr>
            <a:t>Присвоение кодов факторам*</a:t>
          </a:r>
          <a:endParaRPr lang="ru-RU" sz="900" dirty="0">
            <a:solidFill>
              <a:schemeClr val="tx1"/>
            </a:solidFill>
          </a:endParaRPr>
        </a:p>
      </dgm:t>
    </dgm:pt>
    <dgm:pt modelId="{4AC096A6-B887-49A6-BC7F-4647D83D65C4}" type="parTrans" cxnId="{759DBE8E-6169-43CA-B378-6EBDC12DAA5F}">
      <dgm:prSet/>
      <dgm:spPr/>
      <dgm:t>
        <a:bodyPr/>
        <a:lstStyle/>
        <a:p>
          <a:endParaRPr lang="ru-RU"/>
        </a:p>
      </dgm:t>
    </dgm:pt>
    <dgm:pt modelId="{8149EAAE-8134-424D-A9BF-F0C350057AD5}" type="sibTrans" cxnId="{759DBE8E-6169-43CA-B378-6EBDC12DAA5F}">
      <dgm:prSet/>
      <dgm:spPr/>
      <dgm:t>
        <a:bodyPr/>
        <a:lstStyle/>
        <a:p>
          <a:endParaRPr lang="ru-RU"/>
        </a:p>
      </dgm:t>
    </dgm:pt>
    <dgm:pt modelId="{E9B88EFE-1487-437F-B113-8D2EA2F517FE}">
      <dgm:prSet phldrT="[Текст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ru-RU" sz="1800" b="1" spc="120" dirty="0">
              <a:solidFill>
                <a:schemeClr val="tx1"/>
              </a:solidFill>
            </a:rPr>
            <a:t>2. </a:t>
          </a:r>
          <a:r>
            <a:rPr lang="ru-RU" sz="1000" b="1" spc="120" dirty="0">
              <a:solidFill>
                <a:schemeClr val="tx1"/>
              </a:solidFill>
            </a:rPr>
            <a:t>Выбор СИЗ из Перечня в соответствии с результатами ОПР</a:t>
          </a:r>
        </a:p>
        <a:p>
          <a:r>
            <a:rPr lang="ru-RU" altLang="ru-RU" sz="900" i="1" dirty="0">
              <a:solidFill>
                <a:schemeClr val="tx1"/>
              </a:solidFill>
            </a:rPr>
            <a:t>С учетом кодировки факторов и частей тела*</a:t>
          </a:r>
          <a:endParaRPr lang="ru-RU" sz="900" dirty="0">
            <a:solidFill>
              <a:schemeClr val="tx1"/>
            </a:solidFill>
          </a:endParaRPr>
        </a:p>
      </dgm:t>
    </dgm:pt>
    <dgm:pt modelId="{1F425314-9CF2-40A0-BD8F-EE8391697427}" type="parTrans" cxnId="{A51DDB96-5943-4887-9A07-3E95E8694DF0}">
      <dgm:prSet/>
      <dgm:spPr/>
      <dgm:t>
        <a:bodyPr/>
        <a:lstStyle/>
        <a:p>
          <a:endParaRPr lang="ru-RU"/>
        </a:p>
      </dgm:t>
    </dgm:pt>
    <dgm:pt modelId="{ECF91081-D6FE-4786-A958-C5193400B07F}" type="sibTrans" cxnId="{A51DDB96-5943-4887-9A07-3E95E8694DF0}">
      <dgm:prSet/>
      <dgm:spPr/>
      <dgm:t>
        <a:bodyPr/>
        <a:lstStyle/>
        <a:p>
          <a:endParaRPr lang="ru-RU"/>
        </a:p>
      </dgm:t>
    </dgm:pt>
    <dgm:pt modelId="{4FF03ED1-8BE7-460D-9282-A95ED8918F4C}">
      <dgm:prSet phldrT="[Текст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ru-RU" sz="1800" b="1" spc="120" dirty="0">
              <a:solidFill>
                <a:schemeClr val="tx1"/>
              </a:solidFill>
            </a:rPr>
            <a:t>3. </a:t>
          </a:r>
          <a:r>
            <a:rPr lang="ru-RU" sz="1000" b="1" spc="120" dirty="0">
              <a:solidFill>
                <a:schemeClr val="tx1"/>
              </a:solidFill>
            </a:rPr>
            <a:t>Формирование комплекта СИЗ с учетом сроков носки</a:t>
          </a:r>
        </a:p>
        <a:p>
          <a:r>
            <a:rPr lang="ru-RU" altLang="ru-RU" sz="900" i="1" dirty="0">
              <a:solidFill>
                <a:schemeClr val="tx1"/>
              </a:solidFill>
            </a:rPr>
            <a:t>Присвоение шифр-идентификатора*</a:t>
          </a:r>
          <a:endParaRPr lang="ru-RU" sz="900" dirty="0">
            <a:solidFill>
              <a:schemeClr val="tx1"/>
            </a:solidFill>
          </a:endParaRPr>
        </a:p>
      </dgm:t>
    </dgm:pt>
    <dgm:pt modelId="{7F954E2A-0C54-4111-A253-2FF3893654F8}" type="parTrans" cxnId="{CE124793-4E57-41ED-8872-5D31E699509E}">
      <dgm:prSet/>
      <dgm:spPr/>
      <dgm:t>
        <a:bodyPr/>
        <a:lstStyle/>
        <a:p>
          <a:endParaRPr lang="ru-RU"/>
        </a:p>
      </dgm:t>
    </dgm:pt>
    <dgm:pt modelId="{C65D542F-31C7-43B1-9407-20887069596B}" type="sibTrans" cxnId="{CE124793-4E57-41ED-8872-5D31E699509E}">
      <dgm:prSet/>
      <dgm:spPr/>
      <dgm:t>
        <a:bodyPr/>
        <a:lstStyle/>
        <a:p>
          <a:endParaRPr lang="ru-RU"/>
        </a:p>
      </dgm:t>
    </dgm:pt>
    <dgm:pt modelId="{9153EFB9-3629-445B-9083-1BB6B3DF3EBD}">
      <dgm:prSet phldrT="[Текст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ru-RU" sz="1800" b="1" spc="120" dirty="0">
              <a:solidFill>
                <a:schemeClr val="tx1"/>
              </a:solidFill>
            </a:rPr>
            <a:t>4. </a:t>
          </a:r>
          <a:r>
            <a:rPr lang="ru-RU" sz="1000" b="1" spc="120" dirty="0">
              <a:solidFill>
                <a:schemeClr val="tx1"/>
              </a:solidFill>
            </a:rPr>
            <a:t>Расчет теоретической потребности СИЗ для «пилотного» предприятия</a:t>
          </a:r>
        </a:p>
        <a:p>
          <a:r>
            <a:rPr lang="ru-RU" altLang="ru-RU" sz="900" i="1" dirty="0">
              <a:solidFill>
                <a:schemeClr val="tx1"/>
              </a:solidFill>
            </a:rPr>
            <a:t>В виде Проекта Норм выдачи СИЗ</a:t>
          </a:r>
          <a:endParaRPr lang="ru-RU" sz="900" dirty="0">
            <a:solidFill>
              <a:schemeClr val="tx1"/>
            </a:solidFill>
          </a:endParaRPr>
        </a:p>
      </dgm:t>
    </dgm:pt>
    <dgm:pt modelId="{74415902-263E-423B-9CE1-A6920797926A}" type="parTrans" cxnId="{D723C83A-12BC-42F0-A58F-C9187B477324}">
      <dgm:prSet/>
      <dgm:spPr/>
      <dgm:t>
        <a:bodyPr/>
        <a:lstStyle/>
        <a:p>
          <a:endParaRPr lang="ru-RU"/>
        </a:p>
      </dgm:t>
    </dgm:pt>
    <dgm:pt modelId="{7E570431-6590-4781-9F85-53D106BAE719}" type="sibTrans" cxnId="{D723C83A-12BC-42F0-A58F-C9187B477324}">
      <dgm:prSet/>
      <dgm:spPr/>
      <dgm:t>
        <a:bodyPr/>
        <a:lstStyle/>
        <a:p>
          <a:endParaRPr lang="ru-RU"/>
        </a:p>
      </dgm:t>
    </dgm:pt>
    <dgm:pt modelId="{44B34156-C24E-4FE3-A7C4-6C7AEEA9DD29}">
      <dgm:prSet phldrT="[Текст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ru-RU" sz="1800" b="1" spc="120" dirty="0">
              <a:solidFill>
                <a:schemeClr val="tx1"/>
              </a:solidFill>
            </a:rPr>
            <a:t>5. </a:t>
          </a:r>
          <a:r>
            <a:rPr lang="ru-RU" sz="1000" b="1" spc="120" dirty="0">
              <a:solidFill>
                <a:schemeClr val="tx1"/>
              </a:solidFill>
            </a:rPr>
            <a:t>Апробация и согласование со специалистами и руководством «пилотного» предприятия</a:t>
          </a:r>
        </a:p>
        <a:p>
          <a:r>
            <a:rPr lang="ru-RU" altLang="ru-RU" sz="900" dirty="0">
              <a:solidFill>
                <a:schemeClr val="tx1"/>
              </a:solidFill>
            </a:rPr>
            <a:t>Обсуждение</a:t>
          </a:r>
          <a:endParaRPr lang="ru-RU" sz="900" dirty="0">
            <a:solidFill>
              <a:schemeClr val="tx1"/>
            </a:solidFill>
          </a:endParaRPr>
        </a:p>
      </dgm:t>
    </dgm:pt>
    <dgm:pt modelId="{66E51374-8915-42DE-88EC-C9AB483B8D5E}" type="parTrans" cxnId="{DCE1BC53-D971-4129-A416-A85C75F78F48}">
      <dgm:prSet/>
      <dgm:spPr/>
      <dgm:t>
        <a:bodyPr/>
        <a:lstStyle/>
        <a:p>
          <a:endParaRPr lang="ru-RU"/>
        </a:p>
      </dgm:t>
    </dgm:pt>
    <dgm:pt modelId="{E1986450-EB90-4D06-A430-F6840D5235AB}" type="sibTrans" cxnId="{DCE1BC53-D971-4129-A416-A85C75F78F48}">
      <dgm:prSet/>
      <dgm:spPr/>
      <dgm:t>
        <a:bodyPr/>
        <a:lstStyle/>
        <a:p>
          <a:endParaRPr lang="ru-RU"/>
        </a:p>
      </dgm:t>
    </dgm:pt>
    <dgm:pt modelId="{2CD5090B-16EA-4EBB-809B-3FD5981E1EE6}" type="pres">
      <dgm:prSet presAssocID="{3BB380A8-90C1-4F26-9DEC-6CB5F35DB145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ru-RU"/>
        </a:p>
      </dgm:t>
    </dgm:pt>
    <dgm:pt modelId="{9660E651-5509-4BBF-8186-DF4C1E3E4570}" type="pres">
      <dgm:prSet presAssocID="{21C243F4-6676-40E0-AF4C-84C0A96682AB}" presName="compNode" presStyleCnt="0"/>
      <dgm:spPr/>
    </dgm:pt>
    <dgm:pt modelId="{22CDBEA6-9C47-4BDC-ACCC-77AFFEDA1E2D}" type="pres">
      <dgm:prSet presAssocID="{21C243F4-6676-40E0-AF4C-84C0A96682AB}" presName="dummyConnPt" presStyleCnt="0"/>
      <dgm:spPr/>
    </dgm:pt>
    <dgm:pt modelId="{EDD56C17-50E1-414A-A2F9-699CAE0EF4B1}" type="pres">
      <dgm:prSet presAssocID="{21C243F4-6676-40E0-AF4C-84C0A96682AB}" presName="node" presStyleLbl="node1" presStyleIdx="0" presStyleCnt="5" custLinFactNeighborX="-92456" custLinFactNeighborY="4381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51F0CC-C545-42DA-993B-9B6899C69C72}" type="pres">
      <dgm:prSet presAssocID="{8149EAAE-8134-424D-A9BF-F0C350057AD5}" presName="sibTrans" presStyleLbl="bgSibTrans2D1" presStyleIdx="0" presStyleCnt="4" custAng="3558082" custFlipVert="1" custScaleX="8229" custScaleY="28345" custLinFactY="415455" custLinFactNeighborX="35557" custLinFactNeighborY="500000"/>
      <dgm:spPr/>
      <dgm:t>
        <a:bodyPr/>
        <a:lstStyle/>
        <a:p>
          <a:endParaRPr lang="ru-RU"/>
        </a:p>
      </dgm:t>
    </dgm:pt>
    <dgm:pt modelId="{EFCE8F1C-493D-447D-9956-3A625443E481}" type="pres">
      <dgm:prSet presAssocID="{E9B88EFE-1487-437F-B113-8D2EA2F517FE}" presName="compNode" presStyleCnt="0"/>
      <dgm:spPr/>
    </dgm:pt>
    <dgm:pt modelId="{89E0F35A-965F-4FF1-970D-5D520FD884B5}" type="pres">
      <dgm:prSet presAssocID="{E9B88EFE-1487-437F-B113-8D2EA2F517FE}" presName="dummyConnPt" presStyleCnt="0"/>
      <dgm:spPr/>
    </dgm:pt>
    <dgm:pt modelId="{8FC3B762-7EF5-49E4-951B-C6BD61500AFC}" type="pres">
      <dgm:prSet presAssocID="{E9B88EFE-1487-437F-B113-8D2EA2F517FE}" presName="node" presStyleLbl="node1" presStyleIdx="1" presStyleCnt="5" custLinFactY="8623" custLinFactNeighborX="-23360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5A43E88-0A41-45E3-95E8-3372EEAEA03D}" type="pres">
      <dgm:prSet presAssocID="{ECF91081-D6FE-4786-A958-C5193400B07F}" presName="sibTrans" presStyleLbl="bgSibTrans2D1" presStyleIdx="1" presStyleCnt="4" custAng="18334870" custFlipVert="1" custScaleX="13928" custScaleY="88806" custLinFactY="-196610" custLinFactNeighborX="40371" custLinFactNeighborY="-200000"/>
      <dgm:spPr/>
      <dgm:t>
        <a:bodyPr/>
        <a:lstStyle/>
        <a:p>
          <a:endParaRPr lang="ru-RU"/>
        </a:p>
      </dgm:t>
    </dgm:pt>
    <dgm:pt modelId="{6699A4E0-540B-4437-872F-ED63E6A25BE2}" type="pres">
      <dgm:prSet presAssocID="{4FF03ED1-8BE7-460D-9282-A95ED8918F4C}" presName="compNode" presStyleCnt="0"/>
      <dgm:spPr/>
    </dgm:pt>
    <dgm:pt modelId="{028D485F-E210-4FF2-863E-73AF308CCA39}" type="pres">
      <dgm:prSet presAssocID="{4FF03ED1-8BE7-460D-9282-A95ED8918F4C}" presName="dummyConnPt" presStyleCnt="0"/>
      <dgm:spPr/>
    </dgm:pt>
    <dgm:pt modelId="{180B36E1-055A-42E0-AD9D-56698274BC7D}" type="pres">
      <dgm:prSet presAssocID="{4FF03ED1-8BE7-460D-9282-A95ED8918F4C}" presName="node" presStyleLbl="node1" presStyleIdx="2" presStyleCnt="5" custLinFactY="-100000" custLinFactNeighborX="41544" custLinFactNeighborY="-10676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A059B9-2322-45F4-BA17-F2FAC5EB73C1}" type="pres">
      <dgm:prSet presAssocID="{C65D542F-31C7-43B1-9407-20887069596B}" presName="sibTrans" presStyleLbl="bgSibTrans2D1" presStyleIdx="2" presStyleCnt="4" custAng="326228" custScaleX="16609" custScaleY="35881" custLinFactY="377114" custLinFactNeighborX="34945" custLinFactNeighborY="400000"/>
      <dgm:spPr/>
      <dgm:t>
        <a:bodyPr/>
        <a:lstStyle/>
        <a:p>
          <a:endParaRPr lang="ru-RU"/>
        </a:p>
      </dgm:t>
    </dgm:pt>
    <dgm:pt modelId="{83E530CA-F18D-4CCB-B946-0208A9BB28C5}" type="pres">
      <dgm:prSet presAssocID="{9153EFB9-3629-445B-9083-1BB6B3DF3EBD}" presName="compNode" presStyleCnt="0"/>
      <dgm:spPr/>
    </dgm:pt>
    <dgm:pt modelId="{5825414A-2653-4DBC-AB2D-2D861291522F}" type="pres">
      <dgm:prSet presAssocID="{9153EFB9-3629-445B-9083-1BB6B3DF3EBD}" presName="dummyConnPt" presStyleCnt="0"/>
      <dgm:spPr/>
    </dgm:pt>
    <dgm:pt modelId="{F03AFCF7-FB73-4858-97C6-FACD11EDBDE9}" type="pres">
      <dgm:prSet presAssocID="{9153EFB9-3629-445B-9083-1BB6B3DF3EBD}" presName="node" presStyleLbl="node1" presStyleIdx="3" presStyleCnt="5" custScaleX="114311" custLinFactNeighborX="-30738" custLinFactNeighborY="-1637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8C4A92E-E2CA-4DE0-A510-B84F0949435F}" type="pres">
      <dgm:prSet presAssocID="{7E570431-6590-4781-9F85-53D106BAE719}" presName="sibTrans" presStyleLbl="bgSibTrans2D1" presStyleIdx="3" presStyleCnt="4" custAng="18297310" custFlipVert="1" custScaleX="12930" custScaleY="28345" custLinFactY="-203824" custLinFactNeighborX="41789" custLinFactNeighborY="-300000"/>
      <dgm:spPr/>
      <dgm:t>
        <a:bodyPr/>
        <a:lstStyle/>
        <a:p>
          <a:endParaRPr lang="ru-RU"/>
        </a:p>
      </dgm:t>
    </dgm:pt>
    <dgm:pt modelId="{830C548A-16B4-492B-A3C6-AB0E26DD5F7D}" type="pres">
      <dgm:prSet presAssocID="{44B34156-C24E-4FE3-A7C4-6C7AEEA9DD29}" presName="compNode" presStyleCnt="0"/>
      <dgm:spPr/>
    </dgm:pt>
    <dgm:pt modelId="{03D903F5-F695-4A82-AD15-84B1566DA833}" type="pres">
      <dgm:prSet presAssocID="{44B34156-C24E-4FE3-A7C4-6C7AEEA9DD29}" presName="dummyConnPt" presStyleCnt="0"/>
      <dgm:spPr/>
    </dgm:pt>
    <dgm:pt modelId="{872FDD81-D200-4070-A526-1019AF5E2203}" type="pres">
      <dgm:prSet presAssocID="{44B34156-C24E-4FE3-A7C4-6C7AEEA9DD29}" presName="node" presStyleLbl="node1" presStyleIdx="4" presStyleCnt="5" custScaleX="131320" custLinFactNeighborX="37908" custLinFactNeighborY="-809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59DBE8E-6169-43CA-B378-6EBDC12DAA5F}" srcId="{3BB380A8-90C1-4F26-9DEC-6CB5F35DB145}" destId="{21C243F4-6676-40E0-AF4C-84C0A96682AB}" srcOrd="0" destOrd="0" parTransId="{4AC096A6-B887-49A6-BC7F-4647D83D65C4}" sibTransId="{8149EAAE-8134-424D-A9BF-F0C350057AD5}"/>
    <dgm:cxn modelId="{C2B0E054-F047-4510-AFDA-24089B06150E}" type="presOf" srcId="{21C243F4-6676-40E0-AF4C-84C0A96682AB}" destId="{EDD56C17-50E1-414A-A2F9-699CAE0EF4B1}" srcOrd="0" destOrd="0" presId="urn:microsoft.com/office/officeart/2005/8/layout/bProcess4"/>
    <dgm:cxn modelId="{D1019E3F-F559-44E8-AEB0-9ADC343D2C29}" type="presOf" srcId="{9153EFB9-3629-445B-9083-1BB6B3DF3EBD}" destId="{F03AFCF7-FB73-4858-97C6-FACD11EDBDE9}" srcOrd="0" destOrd="0" presId="urn:microsoft.com/office/officeart/2005/8/layout/bProcess4"/>
    <dgm:cxn modelId="{76D819E8-AB06-45FB-8DA0-AA786AB218B9}" type="presOf" srcId="{E9B88EFE-1487-437F-B113-8D2EA2F517FE}" destId="{8FC3B762-7EF5-49E4-951B-C6BD61500AFC}" srcOrd="0" destOrd="0" presId="urn:microsoft.com/office/officeart/2005/8/layout/bProcess4"/>
    <dgm:cxn modelId="{8B900818-C86E-47C1-804C-647DE01D750A}" type="presOf" srcId="{44B34156-C24E-4FE3-A7C4-6C7AEEA9DD29}" destId="{872FDD81-D200-4070-A526-1019AF5E2203}" srcOrd="0" destOrd="0" presId="urn:microsoft.com/office/officeart/2005/8/layout/bProcess4"/>
    <dgm:cxn modelId="{DD900CD6-D1F9-483E-B7ED-F45018138583}" type="presOf" srcId="{8149EAAE-8134-424D-A9BF-F0C350057AD5}" destId="{0F51F0CC-C545-42DA-993B-9B6899C69C72}" srcOrd="0" destOrd="0" presId="urn:microsoft.com/office/officeart/2005/8/layout/bProcess4"/>
    <dgm:cxn modelId="{D723C83A-12BC-42F0-A58F-C9187B477324}" srcId="{3BB380A8-90C1-4F26-9DEC-6CB5F35DB145}" destId="{9153EFB9-3629-445B-9083-1BB6B3DF3EBD}" srcOrd="3" destOrd="0" parTransId="{74415902-263E-423B-9CE1-A6920797926A}" sibTransId="{7E570431-6590-4781-9F85-53D106BAE719}"/>
    <dgm:cxn modelId="{6E241A2C-B7F4-41BB-BC4B-341890CF6A11}" type="presOf" srcId="{4FF03ED1-8BE7-460D-9282-A95ED8918F4C}" destId="{180B36E1-055A-42E0-AD9D-56698274BC7D}" srcOrd="0" destOrd="0" presId="urn:microsoft.com/office/officeart/2005/8/layout/bProcess4"/>
    <dgm:cxn modelId="{A51DDB96-5943-4887-9A07-3E95E8694DF0}" srcId="{3BB380A8-90C1-4F26-9DEC-6CB5F35DB145}" destId="{E9B88EFE-1487-437F-B113-8D2EA2F517FE}" srcOrd="1" destOrd="0" parTransId="{1F425314-9CF2-40A0-BD8F-EE8391697427}" sibTransId="{ECF91081-D6FE-4786-A958-C5193400B07F}"/>
    <dgm:cxn modelId="{DCE1BC53-D971-4129-A416-A85C75F78F48}" srcId="{3BB380A8-90C1-4F26-9DEC-6CB5F35DB145}" destId="{44B34156-C24E-4FE3-A7C4-6C7AEEA9DD29}" srcOrd="4" destOrd="0" parTransId="{66E51374-8915-42DE-88EC-C9AB483B8D5E}" sibTransId="{E1986450-EB90-4D06-A430-F6840D5235AB}"/>
    <dgm:cxn modelId="{11BB9174-E007-4282-A935-555106F6A28C}" type="presOf" srcId="{3BB380A8-90C1-4F26-9DEC-6CB5F35DB145}" destId="{2CD5090B-16EA-4EBB-809B-3FD5981E1EE6}" srcOrd="0" destOrd="0" presId="urn:microsoft.com/office/officeart/2005/8/layout/bProcess4"/>
    <dgm:cxn modelId="{B86F9F32-BF7C-4C2C-A6A2-18CBBF634AE0}" type="presOf" srcId="{7E570431-6590-4781-9F85-53D106BAE719}" destId="{38C4A92E-E2CA-4DE0-A510-B84F0949435F}" srcOrd="0" destOrd="0" presId="urn:microsoft.com/office/officeart/2005/8/layout/bProcess4"/>
    <dgm:cxn modelId="{CE124793-4E57-41ED-8872-5D31E699509E}" srcId="{3BB380A8-90C1-4F26-9DEC-6CB5F35DB145}" destId="{4FF03ED1-8BE7-460D-9282-A95ED8918F4C}" srcOrd="2" destOrd="0" parTransId="{7F954E2A-0C54-4111-A253-2FF3893654F8}" sibTransId="{C65D542F-31C7-43B1-9407-20887069596B}"/>
    <dgm:cxn modelId="{71A70E13-CC5A-4159-AEBF-CD083B06223E}" type="presOf" srcId="{ECF91081-D6FE-4786-A958-C5193400B07F}" destId="{05A43E88-0A41-45E3-95E8-3372EEAEA03D}" srcOrd="0" destOrd="0" presId="urn:microsoft.com/office/officeart/2005/8/layout/bProcess4"/>
    <dgm:cxn modelId="{B252F090-967E-4336-96D9-1A7C05E29AC0}" type="presOf" srcId="{C65D542F-31C7-43B1-9407-20887069596B}" destId="{6DA059B9-2322-45F4-BA17-F2FAC5EB73C1}" srcOrd="0" destOrd="0" presId="urn:microsoft.com/office/officeart/2005/8/layout/bProcess4"/>
    <dgm:cxn modelId="{8E64D871-33EB-4FF4-A444-344356CCB919}" type="presParOf" srcId="{2CD5090B-16EA-4EBB-809B-3FD5981E1EE6}" destId="{9660E651-5509-4BBF-8186-DF4C1E3E4570}" srcOrd="0" destOrd="0" presId="urn:microsoft.com/office/officeart/2005/8/layout/bProcess4"/>
    <dgm:cxn modelId="{75934E12-7CC1-4E28-9766-AFA744564B62}" type="presParOf" srcId="{9660E651-5509-4BBF-8186-DF4C1E3E4570}" destId="{22CDBEA6-9C47-4BDC-ACCC-77AFFEDA1E2D}" srcOrd="0" destOrd="0" presId="urn:microsoft.com/office/officeart/2005/8/layout/bProcess4"/>
    <dgm:cxn modelId="{ADA7C7AD-2A55-4D50-8991-33B9262ECDBF}" type="presParOf" srcId="{9660E651-5509-4BBF-8186-DF4C1E3E4570}" destId="{EDD56C17-50E1-414A-A2F9-699CAE0EF4B1}" srcOrd="1" destOrd="0" presId="urn:microsoft.com/office/officeart/2005/8/layout/bProcess4"/>
    <dgm:cxn modelId="{D26EF6EA-CB87-4DC6-B547-E085240EC8E0}" type="presParOf" srcId="{2CD5090B-16EA-4EBB-809B-3FD5981E1EE6}" destId="{0F51F0CC-C545-42DA-993B-9B6899C69C72}" srcOrd="1" destOrd="0" presId="urn:microsoft.com/office/officeart/2005/8/layout/bProcess4"/>
    <dgm:cxn modelId="{DD80D6B4-D58F-4BA9-89D0-749E629265AF}" type="presParOf" srcId="{2CD5090B-16EA-4EBB-809B-3FD5981E1EE6}" destId="{EFCE8F1C-493D-447D-9956-3A625443E481}" srcOrd="2" destOrd="0" presId="urn:microsoft.com/office/officeart/2005/8/layout/bProcess4"/>
    <dgm:cxn modelId="{EF61CC3C-024D-40ED-B35B-0DF9D8604282}" type="presParOf" srcId="{EFCE8F1C-493D-447D-9956-3A625443E481}" destId="{89E0F35A-965F-4FF1-970D-5D520FD884B5}" srcOrd="0" destOrd="0" presId="urn:microsoft.com/office/officeart/2005/8/layout/bProcess4"/>
    <dgm:cxn modelId="{8090F4A1-CCE5-44E0-9653-BAF459E2BE06}" type="presParOf" srcId="{EFCE8F1C-493D-447D-9956-3A625443E481}" destId="{8FC3B762-7EF5-49E4-951B-C6BD61500AFC}" srcOrd="1" destOrd="0" presId="urn:microsoft.com/office/officeart/2005/8/layout/bProcess4"/>
    <dgm:cxn modelId="{A9B8826A-D16C-4664-859E-8DF57C340E10}" type="presParOf" srcId="{2CD5090B-16EA-4EBB-809B-3FD5981E1EE6}" destId="{05A43E88-0A41-45E3-95E8-3372EEAEA03D}" srcOrd="3" destOrd="0" presId="urn:microsoft.com/office/officeart/2005/8/layout/bProcess4"/>
    <dgm:cxn modelId="{4DC75F71-1CB9-4746-88A7-D79B11759D81}" type="presParOf" srcId="{2CD5090B-16EA-4EBB-809B-3FD5981E1EE6}" destId="{6699A4E0-540B-4437-872F-ED63E6A25BE2}" srcOrd="4" destOrd="0" presId="urn:microsoft.com/office/officeart/2005/8/layout/bProcess4"/>
    <dgm:cxn modelId="{CBA87703-569B-4497-8984-FD2A03608F54}" type="presParOf" srcId="{6699A4E0-540B-4437-872F-ED63E6A25BE2}" destId="{028D485F-E210-4FF2-863E-73AF308CCA39}" srcOrd="0" destOrd="0" presId="urn:microsoft.com/office/officeart/2005/8/layout/bProcess4"/>
    <dgm:cxn modelId="{0463789D-C098-47E2-A33F-E8ED5D677182}" type="presParOf" srcId="{6699A4E0-540B-4437-872F-ED63E6A25BE2}" destId="{180B36E1-055A-42E0-AD9D-56698274BC7D}" srcOrd="1" destOrd="0" presId="urn:microsoft.com/office/officeart/2005/8/layout/bProcess4"/>
    <dgm:cxn modelId="{329A30FC-6BCB-44B8-800D-06987794793D}" type="presParOf" srcId="{2CD5090B-16EA-4EBB-809B-3FD5981E1EE6}" destId="{6DA059B9-2322-45F4-BA17-F2FAC5EB73C1}" srcOrd="5" destOrd="0" presId="urn:microsoft.com/office/officeart/2005/8/layout/bProcess4"/>
    <dgm:cxn modelId="{12F94BEB-B38E-4765-AB3B-D881D59135CB}" type="presParOf" srcId="{2CD5090B-16EA-4EBB-809B-3FD5981E1EE6}" destId="{83E530CA-F18D-4CCB-B946-0208A9BB28C5}" srcOrd="6" destOrd="0" presId="urn:microsoft.com/office/officeart/2005/8/layout/bProcess4"/>
    <dgm:cxn modelId="{257D3E96-8B41-4C66-A6C7-440A423CDF44}" type="presParOf" srcId="{83E530CA-F18D-4CCB-B946-0208A9BB28C5}" destId="{5825414A-2653-4DBC-AB2D-2D861291522F}" srcOrd="0" destOrd="0" presId="urn:microsoft.com/office/officeart/2005/8/layout/bProcess4"/>
    <dgm:cxn modelId="{053D2B9F-7438-4EA3-8D88-5A5D330EEA11}" type="presParOf" srcId="{83E530CA-F18D-4CCB-B946-0208A9BB28C5}" destId="{F03AFCF7-FB73-4858-97C6-FACD11EDBDE9}" srcOrd="1" destOrd="0" presId="urn:microsoft.com/office/officeart/2005/8/layout/bProcess4"/>
    <dgm:cxn modelId="{01C09AAC-36C2-49A9-86EF-25EC08896217}" type="presParOf" srcId="{2CD5090B-16EA-4EBB-809B-3FD5981E1EE6}" destId="{38C4A92E-E2CA-4DE0-A510-B84F0949435F}" srcOrd="7" destOrd="0" presId="urn:microsoft.com/office/officeart/2005/8/layout/bProcess4"/>
    <dgm:cxn modelId="{A58AFE96-216A-4D8C-8692-F8A0DB89D180}" type="presParOf" srcId="{2CD5090B-16EA-4EBB-809B-3FD5981E1EE6}" destId="{830C548A-16B4-492B-A3C6-AB0E26DD5F7D}" srcOrd="8" destOrd="0" presId="urn:microsoft.com/office/officeart/2005/8/layout/bProcess4"/>
    <dgm:cxn modelId="{80586D07-2BBC-4AD6-8F0C-1ADB244E2490}" type="presParOf" srcId="{830C548A-16B4-492B-A3C6-AB0E26DD5F7D}" destId="{03D903F5-F695-4A82-AD15-84B1566DA833}" srcOrd="0" destOrd="0" presId="urn:microsoft.com/office/officeart/2005/8/layout/bProcess4"/>
    <dgm:cxn modelId="{108997EB-1040-4F05-A094-6D13BEFCAE11}" type="presParOf" srcId="{830C548A-16B4-492B-A3C6-AB0E26DD5F7D}" destId="{872FDD81-D200-4070-A526-1019AF5E2203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4E6E73-A3C8-4495-927B-8AADA5A74297}">
      <dsp:nvSpPr>
        <dsp:cNvPr id="0" name=""/>
        <dsp:cNvSpPr/>
      </dsp:nvSpPr>
      <dsp:spPr>
        <a:xfrm rot="5400000">
          <a:off x="-504178" y="1158500"/>
          <a:ext cx="1357349" cy="246664"/>
        </a:xfrm>
        <a:prstGeom prst="corner">
          <a:avLst>
            <a:gd name="adj1" fmla="val 1000"/>
            <a:gd name="adj2" fmla="val 1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3A6A4E-2D39-41D2-A6B1-B590D0C452D2}">
      <dsp:nvSpPr>
        <dsp:cNvPr id="0" name=""/>
        <dsp:cNvSpPr/>
      </dsp:nvSpPr>
      <dsp:spPr>
        <a:xfrm>
          <a:off x="51164" y="1960507"/>
          <a:ext cx="3083311" cy="452449"/>
        </a:xfrm>
        <a:prstGeom prst="homePlate">
          <a:avLst>
            <a:gd name="adj" fmla="val 25000"/>
          </a:avLst>
        </a:prstGeom>
        <a:gradFill flip="none" rotWithShape="0">
          <a:gsLst>
            <a:gs pos="0">
              <a:schemeClr val="accent1">
                <a:lumMod val="75000"/>
                <a:shade val="30000"/>
                <a:satMod val="115000"/>
              </a:schemeClr>
            </a:gs>
            <a:gs pos="50000">
              <a:schemeClr val="accent1">
                <a:lumMod val="75000"/>
                <a:shade val="67500"/>
                <a:satMod val="115000"/>
              </a:schemeClr>
            </a:gs>
            <a:gs pos="100000">
              <a:schemeClr val="accent1">
                <a:lumMod val="75000"/>
                <a:shade val="100000"/>
                <a:satMod val="115000"/>
              </a:schemeClr>
            </a:gs>
          </a:gsLst>
          <a:lin ang="16200000" scaled="1"/>
          <a:tileRect/>
        </a:gra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165100" rIns="82550" bIns="165100" numCol="1" spcCol="1270" rtlCol="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b="1" kern="1200" noProof="0" dirty="0">
            <a:effectLst>
              <a:outerShdw blurRad="50800" dist="38100" dir="2700000" algn="tl" rotWithShape="0">
                <a:schemeClr val="tx1">
                  <a:alpha val="50000"/>
                </a:schemeClr>
              </a:outerShdw>
            </a:effectLst>
            <a:latin typeface="Century Gothic" panose="020B0502020202020204" pitchFamily="34" charset="0"/>
          </a:endParaRPr>
        </a:p>
      </dsp:txBody>
      <dsp:txXfrm>
        <a:off x="51164" y="1960507"/>
        <a:ext cx="3026755" cy="452449"/>
      </dsp:txXfrm>
    </dsp:sp>
    <dsp:sp modelId="{810D7AA7-A541-4507-BE7F-36CCF210089F}">
      <dsp:nvSpPr>
        <dsp:cNvPr id="0" name=""/>
        <dsp:cNvSpPr/>
      </dsp:nvSpPr>
      <dsp:spPr>
        <a:xfrm>
          <a:off x="297829" y="751156"/>
          <a:ext cx="2503648" cy="6342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1E7729-FD3F-426D-804C-45BD60BD762D}">
      <dsp:nvSpPr>
        <dsp:cNvPr id="0" name=""/>
        <dsp:cNvSpPr/>
      </dsp:nvSpPr>
      <dsp:spPr>
        <a:xfrm rot="5400000">
          <a:off x="2414114" y="1158210"/>
          <a:ext cx="1357349" cy="246664"/>
        </a:xfrm>
        <a:prstGeom prst="corner">
          <a:avLst>
            <a:gd name="adj1" fmla="val 1000"/>
            <a:gd name="adj2" fmla="val 1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6E586-0364-4C52-98F9-74A7ACD803D1}">
      <dsp:nvSpPr>
        <dsp:cNvPr id="0" name=""/>
        <dsp:cNvSpPr/>
      </dsp:nvSpPr>
      <dsp:spPr>
        <a:xfrm>
          <a:off x="2969456" y="1960218"/>
          <a:ext cx="3083311" cy="452449"/>
        </a:xfrm>
        <a:prstGeom prst="chevron">
          <a:avLst>
            <a:gd name="adj" fmla="val 25000"/>
          </a:avLst>
        </a:prstGeom>
        <a:solidFill>
          <a:schemeClr val="accent2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165100" rIns="82550" bIns="165100" numCol="1" spcCol="1270" rtlCol="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b="1" kern="1200" noProof="0" dirty="0">
            <a:effectLst>
              <a:outerShdw blurRad="50800" dist="38100" dir="2700000" algn="tl" rotWithShape="0">
                <a:schemeClr val="tx1">
                  <a:alpha val="50000"/>
                </a:schemeClr>
              </a:outerShdw>
            </a:effectLst>
            <a:latin typeface="Century Gothic" panose="020B0502020202020204" pitchFamily="34" charset="0"/>
          </a:endParaRPr>
        </a:p>
      </dsp:txBody>
      <dsp:txXfrm>
        <a:off x="3082568" y="1960218"/>
        <a:ext cx="2857087" cy="452449"/>
      </dsp:txXfrm>
    </dsp:sp>
    <dsp:sp modelId="{5E07F9E4-149C-4A89-848F-4ABDD305F0C5}">
      <dsp:nvSpPr>
        <dsp:cNvPr id="0" name=""/>
        <dsp:cNvSpPr/>
      </dsp:nvSpPr>
      <dsp:spPr>
        <a:xfrm>
          <a:off x="3216121" y="750867"/>
          <a:ext cx="2503648" cy="6342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8000" tIns="432000" rIns="288000" bIns="0" numCol="1" spcCol="1270" rtlCol="0" anchor="t" anchorCtr="0">
          <a:noAutofit/>
        </a:bodyPr>
        <a:lstStyle/>
        <a:p>
          <a:pPr lvl="0" algn="ctr" defTabSz="533400" rtl="0">
            <a:lnSpc>
              <a:spcPts val="1500"/>
            </a:lnSpc>
            <a:spcBef>
              <a:spcPct val="0"/>
            </a:spcBef>
            <a:spcAft>
              <a:spcPct val="35000"/>
            </a:spcAft>
          </a:pPr>
          <a:endParaRPr lang="ru-RU" sz="1200" kern="1200" noProof="0" dirty="0">
            <a:solidFill>
              <a:schemeClr val="tx2"/>
            </a:solidFill>
            <a:latin typeface="Century Gothic" panose="020B0502020202020204" pitchFamily="34" charset="0"/>
          </a:endParaRPr>
        </a:p>
      </dsp:txBody>
      <dsp:txXfrm>
        <a:off x="3216121" y="750867"/>
        <a:ext cx="2503648" cy="634205"/>
      </dsp:txXfrm>
    </dsp:sp>
    <dsp:sp modelId="{473F2067-7126-4D56-A328-5A8CFD3D8D52}">
      <dsp:nvSpPr>
        <dsp:cNvPr id="0" name=""/>
        <dsp:cNvSpPr/>
      </dsp:nvSpPr>
      <dsp:spPr>
        <a:xfrm rot="5400000">
          <a:off x="5374092" y="1158609"/>
          <a:ext cx="1357349" cy="246664"/>
        </a:xfrm>
        <a:prstGeom prst="corner">
          <a:avLst>
            <a:gd name="adj1" fmla="val 1000"/>
            <a:gd name="adj2" fmla="val 1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0B5EFC-88FB-4ED5-994F-D5F6584C2293}">
      <dsp:nvSpPr>
        <dsp:cNvPr id="0" name=""/>
        <dsp:cNvSpPr/>
      </dsp:nvSpPr>
      <dsp:spPr>
        <a:xfrm>
          <a:off x="5929435" y="1960616"/>
          <a:ext cx="3083311" cy="452449"/>
        </a:xfrm>
        <a:prstGeom prst="chevron">
          <a:avLst>
            <a:gd name="adj" fmla="val 25000"/>
          </a:avLst>
        </a:prstGeom>
        <a:solidFill>
          <a:schemeClr val="accent3"/>
        </a:solidFill>
        <a:ln w="254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165100" rIns="82550" bIns="165100" numCol="1" spcCol="1270" rtlCol="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b="1" kern="1200" noProof="0" dirty="0">
            <a:effectLst>
              <a:outerShdw blurRad="50800" dist="38100" dir="2700000" algn="tl" rotWithShape="0">
                <a:schemeClr val="tx1">
                  <a:alpha val="50000"/>
                </a:schemeClr>
              </a:outerShdw>
            </a:effectLst>
            <a:latin typeface="Century Gothic" panose="020B0502020202020204" pitchFamily="34" charset="0"/>
          </a:endParaRPr>
        </a:p>
      </dsp:txBody>
      <dsp:txXfrm>
        <a:off x="6042547" y="1960616"/>
        <a:ext cx="2857087" cy="452449"/>
      </dsp:txXfrm>
    </dsp:sp>
    <dsp:sp modelId="{FD7B29F2-0D66-4B4B-BC8A-82DA23575305}">
      <dsp:nvSpPr>
        <dsp:cNvPr id="0" name=""/>
        <dsp:cNvSpPr/>
      </dsp:nvSpPr>
      <dsp:spPr>
        <a:xfrm>
          <a:off x="6176100" y="751265"/>
          <a:ext cx="2503648" cy="6342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8000" tIns="432000" rIns="288000" bIns="0" numCol="1" spcCol="1270" rtlCol="0" anchor="t" anchorCtr="0">
          <a:noAutofit/>
        </a:bodyPr>
        <a:lstStyle/>
        <a:p>
          <a:pPr lvl="0" algn="ctr" defTabSz="533400" rtl="0">
            <a:lnSpc>
              <a:spcPts val="1500"/>
            </a:lnSpc>
            <a:spcBef>
              <a:spcPct val="0"/>
            </a:spcBef>
            <a:spcAft>
              <a:spcPct val="35000"/>
            </a:spcAft>
          </a:pPr>
          <a:endParaRPr lang="ru-RU" sz="1200" kern="1200" noProof="0" dirty="0">
            <a:solidFill>
              <a:schemeClr val="tx2"/>
            </a:solidFill>
            <a:latin typeface="Century Gothic" panose="020B0502020202020204" pitchFamily="34" charset="0"/>
          </a:endParaRPr>
        </a:p>
      </dsp:txBody>
      <dsp:txXfrm>
        <a:off x="6176100" y="751265"/>
        <a:ext cx="2503648" cy="634205"/>
      </dsp:txXfrm>
    </dsp:sp>
    <dsp:sp modelId="{7BF6E820-C6E3-4E2C-BB23-ADF9AD641C6B}">
      <dsp:nvSpPr>
        <dsp:cNvPr id="0" name=""/>
        <dsp:cNvSpPr/>
      </dsp:nvSpPr>
      <dsp:spPr>
        <a:xfrm rot="5400000">
          <a:off x="8343549" y="1167259"/>
          <a:ext cx="1357349" cy="246664"/>
        </a:xfrm>
        <a:prstGeom prst="corner">
          <a:avLst>
            <a:gd name="adj1" fmla="val 1000"/>
            <a:gd name="adj2" fmla="val 1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046455-4EBB-40A8-838B-B584850A8B8E}">
      <dsp:nvSpPr>
        <dsp:cNvPr id="0" name=""/>
        <dsp:cNvSpPr/>
      </dsp:nvSpPr>
      <dsp:spPr>
        <a:xfrm>
          <a:off x="8898891" y="1969267"/>
          <a:ext cx="3083311" cy="452449"/>
        </a:xfrm>
        <a:prstGeom prst="chevron">
          <a:avLst>
            <a:gd name="adj" fmla="val 25000"/>
          </a:avLst>
        </a:prstGeom>
        <a:solidFill>
          <a:schemeClr val="accent4"/>
        </a:solidFill>
        <a:ln w="25400" cap="flat" cmpd="sng" algn="ctr">
          <a:solidFill>
            <a:schemeClr val="accent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165100" rIns="82550" bIns="165100" numCol="1" spcCol="1270" rtlCol="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b="1" kern="1200" noProof="0" dirty="0">
            <a:effectLst>
              <a:outerShdw blurRad="50800" dist="38100" dir="2700000" algn="tl" rotWithShape="0">
                <a:schemeClr val="tx1">
                  <a:alpha val="50000"/>
                </a:schemeClr>
              </a:outerShdw>
            </a:effectLst>
            <a:latin typeface="Century Gothic" panose="020B0502020202020204" pitchFamily="34" charset="0"/>
          </a:endParaRPr>
        </a:p>
      </dsp:txBody>
      <dsp:txXfrm>
        <a:off x="9012003" y="1969267"/>
        <a:ext cx="2857087" cy="452449"/>
      </dsp:txXfrm>
    </dsp:sp>
    <dsp:sp modelId="{1D84544C-5924-422B-9546-A86AE4927E4C}">
      <dsp:nvSpPr>
        <dsp:cNvPr id="0" name=""/>
        <dsp:cNvSpPr/>
      </dsp:nvSpPr>
      <dsp:spPr>
        <a:xfrm>
          <a:off x="9145556" y="759916"/>
          <a:ext cx="2503648" cy="6342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 rtl="0">
            <a:lnSpc>
              <a:spcPts val="1500"/>
            </a:lnSpc>
            <a:spcBef>
              <a:spcPct val="0"/>
            </a:spcBef>
            <a:spcAft>
              <a:spcPts val="0"/>
            </a:spcAft>
            <a:buNone/>
          </a:pPr>
          <a:endParaRPr lang="ru-RU" sz="1200" kern="1200" noProof="0" dirty="0">
            <a:solidFill>
              <a:srgbClr val="666666"/>
            </a:solidFill>
            <a:latin typeface="Century Gothic" panose="020B0502020202020204" pitchFamily="34" charset="0"/>
            <a:ea typeface="+mn-ea"/>
            <a:cs typeface="+mn-cs"/>
          </a:endParaRPr>
        </a:p>
      </dsp:txBody>
      <dsp:txXfrm>
        <a:off x="9145556" y="759916"/>
        <a:ext cx="2503648" cy="63420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5ABEDF-8FB8-4D98-8C44-4DB976BFAF48}">
      <dsp:nvSpPr>
        <dsp:cNvPr id="0" name=""/>
        <dsp:cNvSpPr/>
      </dsp:nvSpPr>
      <dsp:spPr>
        <a:xfrm>
          <a:off x="10686" y="0"/>
          <a:ext cx="2212095" cy="651933"/>
        </a:xfrm>
        <a:prstGeom prst="roundRect">
          <a:avLst>
            <a:gd name="adj" fmla="val 10000"/>
          </a:avLst>
        </a:prstGeom>
        <a:solidFill>
          <a:srgbClr val="BDCBD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2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тбор объектов </a:t>
          </a:r>
          <a:r>
            <a:rPr lang="ru-RU" altLang="ru-RU" sz="1200" kern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(площадок)</a:t>
          </a:r>
          <a:r>
            <a:rPr lang="ru-RU" altLang="ru-RU" sz="1200" b="1" kern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ru-RU" altLang="ru-RU" sz="1200" kern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для «пилотной» апробации</a:t>
          </a:r>
          <a:endParaRPr lang="ru-RU" sz="12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29780" y="19094"/>
        <a:ext cx="2173907" cy="613745"/>
      </dsp:txXfrm>
    </dsp:sp>
    <dsp:sp modelId="{6CF29422-8D24-4F3B-ADB7-731DAACEB52B}">
      <dsp:nvSpPr>
        <dsp:cNvPr id="0" name=""/>
        <dsp:cNvSpPr/>
      </dsp:nvSpPr>
      <dsp:spPr>
        <a:xfrm>
          <a:off x="2443991" y="228598"/>
          <a:ext cx="468964" cy="194736"/>
        </a:xfrm>
        <a:prstGeom prst="rightArrow">
          <a:avLst>
            <a:gd name="adj1" fmla="val 60000"/>
            <a:gd name="adj2" fmla="val 50000"/>
          </a:avLst>
        </a:prstGeom>
        <a:noFill/>
        <a:ln>
          <a:solidFill>
            <a:srgbClr val="5F7895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kern="1200"/>
        </a:p>
      </dsp:txBody>
      <dsp:txXfrm>
        <a:off x="2443991" y="267545"/>
        <a:ext cx="410543" cy="116842"/>
      </dsp:txXfrm>
    </dsp:sp>
    <dsp:sp modelId="{AA9EDFAF-DA13-4929-B764-A9552A912D30}">
      <dsp:nvSpPr>
        <dsp:cNvPr id="0" name=""/>
        <dsp:cNvSpPr/>
      </dsp:nvSpPr>
      <dsp:spPr>
        <a:xfrm>
          <a:off x="3107619" y="0"/>
          <a:ext cx="2212095" cy="651933"/>
        </a:xfrm>
        <a:prstGeom prst="roundRect">
          <a:avLst>
            <a:gd name="adj" fmla="val 10000"/>
          </a:avLst>
        </a:prstGeom>
        <a:solidFill>
          <a:srgbClr val="BDCBD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2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Установочные совещания</a:t>
          </a:r>
          <a:r>
            <a:rPr lang="ru-RU" altLang="ru-RU" sz="1200" b="1" kern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, </a:t>
          </a:r>
          <a:r>
            <a:rPr lang="ru-RU" altLang="ru-RU" sz="1200" b="0" kern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рабочие консультации по вопросам взаимодействия </a:t>
          </a:r>
          <a:endParaRPr lang="ru-RU" sz="1200" b="0" kern="1200" dirty="0">
            <a:solidFill>
              <a:prstClr val="black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3126713" y="19094"/>
        <a:ext cx="2173907" cy="613745"/>
      </dsp:txXfrm>
    </dsp:sp>
    <dsp:sp modelId="{B7DFF002-2E66-4C89-8CF3-9224AAFAC121}">
      <dsp:nvSpPr>
        <dsp:cNvPr id="0" name=""/>
        <dsp:cNvSpPr/>
      </dsp:nvSpPr>
      <dsp:spPr>
        <a:xfrm>
          <a:off x="5540924" y="228598"/>
          <a:ext cx="468964" cy="194736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solidFill>
            <a:srgbClr val="5F7895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kern="1200"/>
        </a:p>
      </dsp:txBody>
      <dsp:txXfrm>
        <a:off x="5540924" y="267545"/>
        <a:ext cx="410543" cy="116842"/>
      </dsp:txXfrm>
    </dsp:sp>
    <dsp:sp modelId="{FAD3456C-0589-4B8B-9602-F1BA543C62D0}">
      <dsp:nvSpPr>
        <dsp:cNvPr id="0" name=""/>
        <dsp:cNvSpPr/>
      </dsp:nvSpPr>
      <dsp:spPr>
        <a:xfrm>
          <a:off x="6204553" y="0"/>
          <a:ext cx="2212095" cy="651933"/>
        </a:xfrm>
        <a:prstGeom prst="roundRect">
          <a:avLst>
            <a:gd name="adj" fmla="val 10000"/>
          </a:avLst>
        </a:prstGeom>
        <a:solidFill>
          <a:srgbClr val="BDCBD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2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одписание соглашений </a:t>
          </a:r>
          <a:r>
            <a:rPr lang="ru-RU" altLang="ru-RU" sz="1200" kern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 сотрудничестве </a:t>
          </a:r>
          <a:r>
            <a:rPr lang="ru-RU" altLang="ru-RU" sz="1200" kern="1200" dirty="0" err="1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стейкхолдеров</a:t>
          </a:r>
          <a:endParaRPr lang="ru-RU" altLang="ru-RU" sz="1200" kern="1200" dirty="0">
            <a:solidFill>
              <a:prstClr val="black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6223647" y="19094"/>
        <a:ext cx="2173907" cy="613745"/>
      </dsp:txXfrm>
    </dsp:sp>
    <dsp:sp modelId="{B9D7D563-5C4C-4467-B665-D2C1D0854B58}">
      <dsp:nvSpPr>
        <dsp:cNvPr id="0" name=""/>
        <dsp:cNvSpPr/>
      </dsp:nvSpPr>
      <dsp:spPr>
        <a:xfrm>
          <a:off x="8637857" y="228598"/>
          <a:ext cx="468964" cy="194736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solidFill>
            <a:srgbClr val="5F7895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kern="1200"/>
        </a:p>
      </dsp:txBody>
      <dsp:txXfrm>
        <a:off x="8637857" y="267545"/>
        <a:ext cx="410543" cy="116842"/>
      </dsp:txXfrm>
    </dsp:sp>
    <dsp:sp modelId="{9B161DB5-6343-401A-B8E4-BCB73E13C156}">
      <dsp:nvSpPr>
        <dsp:cNvPr id="0" name=""/>
        <dsp:cNvSpPr/>
      </dsp:nvSpPr>
      <dsp:spPr>
        <a:xfrm>
          <a:off x="9301486" y="0"/>
          <a:ext cx="2212095" cy="651933"/>
        </a:xfrm>
        <a:prstGeom prst="roundRect">
          <a:avLst>
            <a:gd name="adj" fmla="val 10000"/>
          </a:avLst>
        </a:prstGeom>
        <a:solidFill>
          <a:srgbClr val="BDCBD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000" kern="12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 </a:t>
          </a:r>
          <a:r>
            <a:rPr lang="ru-RU" altLang="ru-RU" sz="1000" b="1" kern="12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Реализация Плана </a:t>
          </a:r>
          <a:r>
            <a:rPr lang="ru-RU" altLang="ru-RU" sz="1000" kern="12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мероприятий по пилотной апробации новых подходов и механизмов (методик, цифровых инструментов)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altLang="ru-RU" sz="700" kern="1200" dirty="0">
            <a:solidFill>
              <a:prstClr val="black"/>
            </a:solidFill>
            <a:latin typeface="Arial" panose="020B0604020202020204" pitchFamily="34" charset="0"/>
            <a:ea typeface="Calibri" panose="020F0502020204030204" pitchFamily="34" charset="0"/>
            <a:cs typeface="Arial" panose="020B0604020202020204" pitchFamily="34" charset="0"/>
          </a:endParaRPr>
        </a:p>
      </dsp:txBody>
      <dsp:txXfrm>
        <a:off x="9320580" y="19094"/>
        <a:ext cx="2173907" cy="6137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51F0CC-C545-42DA-993B-9B6899C69C72}">
      <dsp:nvSpPr>
        <dsp:cNvPr id="0" name=""/>
        <dsp:cNvSpPr/>
      </dsp:nvSpPr>
      <dsp:spPr>
        <a:xfrm rot="13943699" flipV="1">
          <a:off x="1457234" y="3213351"/>
          <a:ext cx="180365" cy="45720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D56C17-50E1-414A-A2F9-699CAE0EF4B1}">
      <dsp:nvSpPr>
        <dsp:cNvPr id="0" name=""/>
        <dsp:cNvSpPr/>
      </dsp:nvSpPr>
      <dsp:spPr>
        <a:xfrm>
          <a:off x="0" y="472477"/>
          <a:ext cx="1792224" cy="1075334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spc="120" dirty="0">
              <a:solidFill>
                <a:schemeClr val="tx1"/>
              </a:solidFill>
            </a:rPr>
            <a:t>1. </a:t>
          </a:r>
          <a:r>
            <a:rPr lang="ru-RU" sz="1000" b="1" kern="1200" spc="120" dirty="0">
              <a:solidFill>
                <a:schemeClr val="tx1"/>
              </a:solidFill>
            </a:rPr>
            <a:t>Определение факторов и рисков на рабочем месте для каждого работника по результатам ОПР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900" i="1" kern="1200" dirty="0">
              <a:solidFill>
                <a:schemeClr val="tx1"/>
              </a:solidFill>
            </a:rPr>
            <a:t>Присвоение кодов факторам*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31495" y="503972"/>
        <a:ext cx="1729234" cy="1012344"/>
      </dsp:txXfrm>
    </dsp:sp>
    <dsp:sp modelId="{05A43E88-0A41-45E3-95E8-3372EEAEA03D}">
      <dsp:nvSpPr>
        <dsp:cNvPr id="0" name=""/>
        <dsp:cNvSpPr/>
      </dsp:nvSpPr>
      <dsp:spPr>
        <a:xfrm rot="6891316" flipV="1">
          <a:off x="2546123" y="1045107"/>
          <a:ext cx="327105" cy="143244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C3B762-7EF5-49E4-951B-C6BD61500AFC}">
      <dsp:nvSpPr>
        <dsp:cNvPr id="0" name=""/>
        <dsp:cNvSpPr/>
      </dsp:nvSpPr>
      <dsp:spPr>
        <a:xfrm>
          <a:off x="814769" y="2513505"/>
          <a:ext cx="1792224" cy="1075334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spc="120" dirty="0">
              <a:solidFill>
                <a:schemeClr val="tx1"/>
              </a:solidFill>
            </a:rPr>
            <a:t>2. </a:t>
          </a:r>
          <a:r>
            <a:rPr lang="ru-RU" sz="1000" b="1" kern="1200" spc="120" dirty="0">
              <a:solidFill>
                <a:schemeClr val="tx1"/>
              </a:solidFill>
            </a:rPr>
            <a:t>Выбор СИЗ из Перечня в соответствии с результатами ОПР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900" i="1" kern="1200" dirty="0">
              <a:solidFill>
                <a:schemeClr val="tx1"/>
              </a:solidFill>
            </a:rPr>
            <a:t>С учетом кодировки факторов и частей тела*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846264" y="2545000"/>
        <a:ext cx="1729234" cy="1012344"/>
      </dsp:txXfrm>
    </dsp:sp>
    <dsp:sp modelId="{6DA059B9-2322-45F4-BA17-F2FAC5EB73C1}">
      <dsp:nvSpPr>
        <dsp:cNvPr id="0" name=""/>
        <dsp:cNvSpPr/>
      </dsp:nvSpPr>
      <dsp:spPr>
        <a:xfrm rot="3702625">
          <a:off x="3677127" y="2981010"/>
          <a:ext cx="407945" cy="57876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0B36E1-055A-42E0-AD9D-56698274BC7D}">
      <dsp:nvSpPr>
        <dsp:cNvPr id="0" name=""/>
        <dsp:cNvSpPr/>
      </dsp:nvSpPr>
      <dsp:spPr>
        <a:xfrm>
          <a:off x="1977994" y="466240"/>
          <a:ext cx="1792224" cy="1075334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spc="120" dirty="0">
              <a:solidFill>
                <a:schemeClr val="tx1"/>
              </a:solidFill>
            </a:rPr>
            <a:t>3. </a:t>
          </a:r>
          <a:r>
            <a:rPr lang="ru-RU" sz="1000" b="1" kern="1200" spc="120" dirty="0">
              <a:solidFill>
                <a:schemeClr val="tx1"/>
              </a:solidFill>
            </a:rPr>
            <a:t>Формирование комплекта СИЗ с учетом сроков носки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900" i="1" kern="1200" dirty="0">
              <a:solidFill>
                <a:schemeClr val="tx1"/>
              </a:solidFill>
            </a:rPr>
            <a:t>Присвоение шифр-идентификатора*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2009489" y="497735"/>
        <a:ext cx="1729234" cy="1012344"/>
      </dsp:txXfrm>
    </dsp:sp>
    <dsp:sp modelId="{38C4A92E-E2CA-4DE0-A510-B84F0949435F}">
      <dsp:nvSpPr>
        <dsp:cNvPr id="0" name=""/>
        <dsp:cNvSpPr/>
      </dsp:nvSpPr>
      <dsp:spPr>
        <a:xfrm rot="6849273" flipV="1">
          <a:off x="5163475" y="923291"/>
          <a:ext cx="307081" cy="45720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3AFCF7-FB73-4858-97C6-FACD11EDBDE9}">
      <dsp:nvSpPr>
        <dsp:cNvPr id="0" name=""/>
        <dsp:cNvSpPr/>
      </dsp:nvSpPr>
      <dsp:spPr>
        <a:xfrm>
          <a:off x="3218617" y="2513505"/>
          <a:ext cx="2048709" cy="1075334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spc="120" dirty="0">
              <a:solidFill>
                <a:schemeClr val="tx1"/>
              </a:solidFill>
            </a:rPr>
            <a:t>4. </a:t>
          </a:r>
          <a:r>
            <a:rPr lang="ru-RU" sz="1000" b="1" kern="1200" spc="120" dirty="0">
              <a:solidFill>
                <a:schemeClr val="tx1"/>
              </a:solidFill>
            </a:rPr>
            <a:t>Расчет теоретической потребности СИЗ для «пилотного» предприятия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900" i="1" kern="1200" dirty="0">
              <a:solidFill>
                <a:schemeClr val="tx1"/>
              </a:solidFill>
            </a:rPr>
            <a:t>В виде Проекта Норм выдачи СИЗ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3250112" y="2545000"/>
        <a:ext cx="1985719" cy="1012344"/>
      </dsp:txXfrm>
    </dsp:sp>
    <dsp:sp modelId="{872FDD81-D200-4070-A526-1019AF5E2203}">
      <dsp:nvSpPr>
        <dsp:cNvPr id="0" name=""/>
        <dsp:cNvSpPr/>
      </dsp:nvSpPr>
      <dsp:spPr>
        <a:xfrm>
          <a:off x="4296488" y="475434"/>
          <a:ext cx="2353549" cy="1075334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spc="120" dirty="0">
              <a:solidFill>
                <a:schemeClr val="tx1"/>
              </a:solidFill>
            </a:rPr>
            <a:t>5. </a:t>
          </a:r>
          <a:r>
            <a:rPr lang="ru-RU" sz="1000" b="1" kern="1200" spc="120" dirty="0">
              <a:solidFill>
                <a:schemeClr val="tx1"/>
              </a:solidFill>
            </a:rPr>
            <a:t>Апробация и согласование со специалистами и руководством «пилотного» предприятия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900" kern="1200" dirty="0">
              <a:solidFill>
                <a:schemeClr val="tx1"/>
              </a:solidFill>
            </a:rPr>
            <a:t>Обсуждение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4327983" y="506929"/>
        <a:ext cx="2290559" cy="10123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AccentHomeChevronProcess">
  <dgm:title val="Accent Home Chevron Process"/>
  <dgm:desc val="Use to show a progression; a timeline; sequential steps in a task, process, or workflow; or to emphasize movement or direction. Level 1 text appears inside an chevron shape, except the first shape which comes in a home shape, while Level 2 text appears above the invisible rectangle shapes."/>
  <dgm:catLst>
    <dgm:cat type="process" pri="500"/>
    <dgm:cat type="timeline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contrsBasedOnsibTransCount">
      <dgm:if name="oneSibTrans" axis="ch" ptType="sibTrans" func="cnt" op="equ" val="1">
        <dgm:constrLst>
          <dgm:constr type="h" for="ch" forName="composite" refType="h" fact="0.6"/>
          <dgm:constr type="w" for="ch" forName="composite" refType="w"/>
          <dgm:constr type="primFontSz" for="des" forName="parTx" val="20"/>
          <dgm:constr type="primFontSz" for="des" forName="desTx" refType="primFontSz" refFor="des" refForName="parTx" op="lte"/>
          <dgm:constr type="primFontSz" for="des" forName="parTx" op="equ"/>
          <dgm:constr type="primFontSz" for="des" forName="desTx" op="equ"/>
          <dgm:constr type="w" for="ch" forName="space" refType="w" refFor="ch" refForName="composite" fact="-0.02"/>
          <dgm:constr type="w" for="ch" ptType="sibTrans" op="equ"/>
        </dgm:constrLst>
      </dgm:if>
      <dgm:else name="moreThanOneSibTrans">
        <dgm:choose name="contrsForMoreThanOneSibTrans">
          <dgm:if name="twoSibTrans" axis="ch" ptType="sibTrans" func="cnt" op="equ" val="2">
            <dgm:constrLst>
              <dgm:constr type="h" for="ch" forName="composite" refType="h" fact="0.6"/>
              <dgm:constr type="w" for="ch" forName="composite" refType="w"/>
              <dgm:constr type="primFontSz" for="des" forName="parTx" val="20"/>
              <dgm:constr type="primFontSz" for="des" forName="desTx" refType="primFontSz" refFor="des" refForName="parTx" op="lte"/>
              <dgm:constr type="primFontSz" for="des" forName="parTx" op="equ"/>
              <dgm:constr type="primFontSz" for="des" forName="desTx" op="equ"/>
              <dgm:constr type="w" for="ch" forName="space" refType="w" refFor="ch" refForName="composite" fact="-0.03"/>
              <dgm:constr type="w" for="ch" ptType="sibTrans" op="equ"/>
            </dgm:constrLst>
          </dgm:if>
          <dgm:else name="moreThanTwoSibTrans">
            <dgm:choose name="contrsForMoreThanTwoSibTrans">
              <dgm:if name="threeSibTrans" axis="ch" ptType="sibTrans" func="cnt" op="equ" val="3">
                <dgm:constrLst>
                  <dgm:constr type="h" for="ch" forName="composite" refType="h" fact="0.6"/>
                  <dgm:constr type="w" for="ch" forName="composite" refType="w"/>
                  <dgm:constr type="primFontSz" for="des" forName="parTx" val="20"/>
                  <dgm:constr type="primFontSz" for="des" forName="desTx" refType="primFontSz" refFor="des" refForName="parTx" op="lte"/>
                  <dgm:constr type="primFontSz" for="des" forName="parTx" op="equ"/>
                  <dgm:constr type="primFontSz" for="des" forName="desTx" op="equ"/>
                  <dgm:constr type="w" for="ch" forName="space" refType="w" refFor="ch" refForName="composite" fact="-0.04"/>
                  <dgm:constr type="w" for="ch" ptType="sibTrans" op="equ"/>
                </dgm:constrLst>
              </dgm:if>
              <dgm:else name="moreThanThreeSibTrans">
                <dgm:choose name="contrsForMoreThanThreeSibTrans">
                  <dgm:if name="fourToSixSibTrans" axis="ch" ptType="sibTrans" func="cnt" op="lte" val="6">
                    <dgm:constrLst>
                      <dgm:constr type="h" for="ch" forName="composite" refType="h" fact="0.6"/>
                      <dgm:constr type="w" for="ch" forName="composite" refType="w"/>
                      <dgm:constr type="primFontSz" for="des" forName="parTx" val="20"/>
                      <dgm:constr type="primFontSz" for="des" forName="desTx" refType="primFontSz" refFor="des" refForName="parTx" op="lte"/>
                      <dgm:constr type="primFontSz" for="des" forName="parTx" op="equ"/>
                      <dgm:constr type="primFontSz" for="des" forName="desTx" op="equ"/>
                      <dgm:constr type="w" for="ch" forName="space" refType="w" refFor="ch" refForName="composite" fact="-0.05"/>
                      <dgm:constr type="w" for="ch" ptType="sibTrans" op="equ"/>
                    </dgm:constrLst>
                  </dgm:if>
                  <dgm:else name="moreThanSixSibTrans">
                    <dgm:choose name="contrsForMoreThanSixSibTrans">
                      <dgm:if name="sevenToEightSibTrans" axis="ch" ptType="sibTrans" func="cnt" op="lte" val="8">
                        <dgm:constrLst>
                          <dgm:constr type="h" for="ch" forName="composite" refType="h" fact="0.6"/>
                          <dgm:constr type="w" for="ch" forName="composite" refType="w"/>
                          <dgm:constr type="primFontSz" for="des" forName="parTx" val="20"/>
                          <dgm:constr type="primFontSz" for="des" forName="desTx" refType="primFontSz" refFor="des" refForName="parTx" op="lte"/>
                          <dgm:constr type="primFontSz" for="des" forName="parTx" op="equ"/>
                          <dgm:constr type="primFontSz" for="des" forName="desTx" op="equ"/>
                          <dgm:constr type="w" for="ch" forName="space" refType="w" refFor="ch" refForName="composite" fact="-0.07"/>
                          <dgm:constr type="w" for="ch" ptType="sibTrans" op="equ"/>
                        </dgm:constrLst>
                      </dgm:if>
                      <dgm:else name="moreThanEightSibTrans">
                        <dgm:constrLst>
                          <dgm:constr type="h" for="ch" forName="composite" refType="h" fact="0.6"/>
                          <dgm:constr type="w" for="ch" forName="composite" refType="w"/>
                          <dgm:constr type="primFontSz" for="des" forName="parTx" val="20"/>
                          <dgm:constr type="primFontSz" for="des" forName="desTx" refType="primFontSz" refFor="des" refForName="parTx" op="lte"/>
                          <dgm:constr type="primFontSz" for="des" forName="parTx" op="equ"/>
                          <dgm:constr type="primFontSz" for="des" forName="desTx" op="equ"/>
                          <dgm:constr type="w" for="ch" forName="space" refType="w" refFor="ch" refForName="composite" fact="-0.09"/>
                          <dgm:constr type="w" for="ch" ptType="sibTrans" op="equ"/>
                        </dgm:constrLst>
                      </dgm:else>
                    </dgm:choose>
                  </dgm:else>
                </dgm:choose>
              </dgm:else>
            </dgm:choose>
          </dgm:else>
        </dgm:choose>
      </dgm:else>
    </dgm:choose>
    <dgm:ruleLst/>
    <dgm:forEach name="Name6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LayoutLTRorRTL">
          <dgm:if name="LayoutLTR" func="var" arg="dir" op="equ" val="norm">
            <dgm:constrLst>
              <dgm:constr type="w" for="ch" forName="L" refType="w" fact="0.08"/>
              <dgm:constr type="h" for="ch" forName="L" refType="h" fact="0.75"/>
              <dgm:constr type="l" for="ch" forName="L"/>
              <dgm:constr type="l" for="ch" forName="parTx"/>
              <dgm:constr type="w" for="ch" forName="parTx" refType="w"/>
              <dgm:constr type="h" for="ch" forName="parTx" refType="h" fact="0.25"/>
              <dgm:constr type="t" for="ch" forName="parTx" refType="b" refFor="ch" refForName="L"/>
              <dgm:constr type="t" for="ch" forName="desTx" refType="w" refFor="ch" refForName="L" fact="0.6"/>
              <dgm:constr type="b" for="ch" forName="desTx" refType="t" refFor="ch" refForName="EmptyPlaceHolder"/>
              <dgm:constr type="l" for="ch" forName="desTx" refType="r" refFor="ch" refForName="L"/>
              <dgm:constr type="w" for="ch" forName="desTx" refType="w" fact="0.812"/>
              <dgm:constr type="w" for="ch" forName="EmptyPlaceHolder" refType="w" fact="0.82"/>
              <dgm:constr type="l" for="ch" forName="EmptyPlaceHolder" refType="r" refFor="ch" refForName="L"/>
              <dgm:constr type="b" for="ch" forName="EmptyPlaceHolder" refType="b" refFor="ch" refForName="L"/>
              <dgm:constr type="h" for="ch" forName="EmptyPlaceHolder" refType="t" refFor="ch" refForName="desTx"/>
            </dgm:constrLst>
          </dgm:if>
          <dgm:else name="LayoutRTL">
            <dgm:constrLst>
              <dgm:constr type="w" for="ch" forName="L" refType="w" fact="0.08"/>
              <dgm:constr type="h" for="ch" forName="L" refType="h" fact="0.75"/>
              <dgm:constr type="r" for="ch" forName="L" refType="w"/>
              <dgm:constr type="r" for="ch" forName="parTx" refType="w"/>
              <dgm:constr type="w" for="ch" forName="parTx" refType="w"/>
              <dgm:constr type="h" for="ch" forName="parTx" refType="h" fact="0.25"/>
              <dgm:constr type="t" for="ch" forName="parTx" refType="b" refFor="ch" refForName="L"/>
              <dgm:constr type="t" for="ch" forName="desTx" refType="w" refFor="ch" refForName="L" fact="0.6"/>
              <dgm:constr type="b" for="ch" forName="desTx" refType="t" refFor="ch" refForName="EmptyPlaceHolder"/>
              <dgm:constr type="r" for="ch" forName="desTx" refType="l" refFor="ch" refForName="L"/>
              <dgm:constr type="w" for="ch" forName="desTx" refType="w" fact="0.812"/>
              <dgm:constr type="w" for="ch" forName="EmptyPlaceHolder" refType="w" fact="0.82"/>
              <dgm:constr type="h" for="ch" forName="EmptyPlaceHolder" refType="w" refFor="ch" refForName="L" fact="0.6"/>
              <dgm:constr type="b" for="ch" forName="EmptyPlaceHolder" refType="b" refFor="ch" refForName="L"/>
            </dgm:constrLst>
          </dgm:else>
        </dgm:choose>
        <dgm:layoutNode name="L" styleLbl="solidFgAcc1" moveWith="parTx">
          <dgm:varLst>
            <dgm:chMax val="0"/>
            <dgm:chPref val="0"/>
          </dgm:varLst>
          <dgm:alg type="sp"/>
          <dgm:choose name="Name310">
            <dgm:if name="Name311" func="var" arg="dir" op="equ" val="norm">
              <dgm:shape xmlns:r="http://schemas.openxmlformats.org/officeDocument/2006/relationships" rot="90" type="corner" r:blip="">
                <dgm:adjLst>
                  <dgm:adj idx="1" val="0.01"/>
                  <dgm:adj idx="2" val="0.01"/>
                </dgm:adjLst>
              </dgm:shape>
            </dgm:if>
            <dgm:else name="Name312">
              <dgm:shape xmlns:r="http://schemas.openxmlformats.org/officeDocument/2006/relationships" rot="180" type="corner" r:blip="">
                <dgm:adjLst>
                  <dgm:adj idx="1" val="0.01"/>
                  <dgm:adj idx="2" val="0.01"/>
                </dgm:adjLst>
              </dgm:shape>
            </dgm:else>
          </dgm:choose>
          <dgm:presOf/>
          <dgm:constrLst/>
          <dgm:ruleLst/>
        </dgm:layoutNode>
        <dgm:layoutNode name="parTx" styleLbl="alignNode1">
          <dgm:varLst>
            <dgm:chMax val="0"/>
            <dgm:chPref val="0"/>
            <dgm:bulletEnabled val="1"/>
          </dgm:varLst>
          <dgm:alg type="tx">
            <dgm:param type="txAnchorVert" val="mid"/>
            <dgm:param type="parTxLTRAlign" val="ctr"/>
            <dgm:param type="parTxRTLAlign" val="ctr"/>
          </dgm:alg>
          <dgm:choose name="MakeFirstNodeHomePlate">
            <dgm:if name="IfFirstNode" axis="self" ptType="node" func="pos" op="equ" val="1">
              <dgm:choose name="Name110">
                <dgm:if name="Name111" func="var" arg="dir" op="equ" val="norm">
                  <dgm:shape xmlns:r="http://schemas.openxmlformats.org/officeDocument/2006/relationships" type="homePlate" r:blip="">
                    <dgm:adjLst>
                      <dgm:adj idx="1" val="0.25"/>
                    </dgm:adjLst>
                  </dgm:shape>
                </dgm:if>
                <dgm:else name="Name112">
                  <dgm:shape xmlns:r="http://schemas.openxmlformats.org/officeDocument/2006/relationships" rot="180" type="homePlate" r:blip="">
                    <dgm:adjLst>
                      <dgm:adj idx="1" val="0.25"/>
                    </dgm:adjLst>
                  </dgm:shape>
                </dgm:else>
              </dgm:choose>
            </dgm:if>
            <dgm:else name="MakeRestOfNodesChevrons"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>
                      <dgm:adj idx="1" val="0.25"/>
                    </dgm:adjLst>
                  </dgm:shape>
                </dgm:if>
                <dgm:else name="Name12">
                  <dgm:shape xmlns:r="http://schemas.openxmlformats.org/officeDocument/2006/relationships" rot="180" type="chevron" r:blip="">
                    <dgm:adjLst>
                      <dgm:adj idx="1" val="0.25"/>
                    </dgm:adjLst>
                  </dgm:shape>
                </dgm:else>
              </dgm:choose>
            </dgm:else>
          </dgm:choose>
          <dgm:presOf axis="self" ptType="node"/>
          <dgm:constrLst>
            <dgm:constr type="tMarg" refType="primFontSz"/>
            <dgm:constr type="bMarg" refType="primFontSz"/>
            <dgm:constr type="lMarg" refType="primFontSz" fact="0.5"/>
            <dgm:constr type="rMarg" refType="primFontSz" fact="0.5"/>
          </dgm:constrLst>
          <dgm:ruleLst>
            <dgm:rule type="primFontSz" val="13" fact="NaN" max="NaN"/>
          </dgm:ruleLst>
        </dgm:layoutNode>
        <dgm:layoutNode name="desTx" styleLbl="revTx" moveWith="parTx">
          <dgm:varLst>
            <dgm:chMax val="0"/>
            <dgm:chPref val="0"/>
            <dgm:bulletEnabled val="1"/>
          </dgm:varLst>
          <dgm:choose name="Name210">
            <dgm:if name="Name211" func="var" arg="dir" op="equ" val="norm">
              <dgm:alg type="tx">
                <dgm:param type="txAnchorVert" val="t"/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12">
              <dgm:alg type="tx">
                <dgm:param type="txAnchorVert" val="t"/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tMarg"/>
            <dgm:constr type="bMarg"/>
            <dgm:constr type="lMarg"/>
            <dgm:constr type="rMarg"/>
          </dgm:constrLst>
          <dgm:ruleLst>
            <dgm:rule type="primFontSz" val="11" fact="NaN" max="NaN"/>
            <dgm:rule type="secFontSz" val="9" fact="NaN" max="NaN"/>
          </dgm:ruleLst>
        </dgm:layoutNode>
        <dgm:layoutNode name="EmptyPlaceHolder">
          <dgm:alg type="sp"/>
          <dgm:shape xmlns:r="http://schemas.openxmlformats.org/officeDocument/2006/relationships" r:blip="">
            <dgm:adjLst/>
          </dgm:shape>
          <dgm:presOf/>
          <dgm:constrLst/>
        </dgm:layoutNode>
      </dgm:layoutNode>
      <dgm:forEach name="Name19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7255</cdr:x>
      <cdr:y>0.90729</cdr:y>
    </cdr:from>
    <cdr:to>
      <cdr:x>1</cdr:x>
      <cdr:y>0.9774</cdr:y>
    </cdr:to>
    <cdr:sp macro="" textlink="">
      <cdr:nvSpPr>
        <cdr:cNvPr id="3" name="TextBox 15"/>
        <cdr:cNvSpPr txBox="1"/>
      </cdr:nvSpPr>
      <cdr:spPr>
        <a:xfrm xmlns:a="http://schemas.openxmlformats.org/drawingml/2006/main">
          <a:off x="3473170" y="3584826"/>
          <a:ext cx="2593009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KZ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kk-KZ" sz="12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По результатам опроса</a:t>
          </a:r>
          <a:endParaRPr lang="ru-RU" sz="1200" i="1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81B1D5-7B46-46D0-9790-61BEEEC4C791}" type="datetimeFigureOut">
              <a:rPr lang="ru-RU" smtClean="0"/>
              <a:t>02.1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8EA006-B364-49B4-A82B-468C787E79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6745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EDDB0A-8521-E42B-28D0-0093422D3C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EAC80EE3-3667-501D-FAFA-AEA35CF6C5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53D7904F-7F5B-5A84-9309-9B995BEE87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a-ET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33FDC01-DE1F-F602-8ED7-8B9E497ACC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4E949-699F-4F7E-A20B-D07A2BFC8BB4}" type="slidenum">
              <a:rPr lang="aa-ET" smtClean="0"/>
              <a:t>1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034165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a-ET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93D1AC-AD1F-43E4-8936-7B474CF2EB35}" type="slidenum">
              <a:rPr lang="aa-ET" smtClean="0"/>
              <a:t>10</a:t>
            </a:fld>
            <a:endParaRPr lang="aa-ET"/>
          </a:p>
        </p:txBody>
      </p:sp>
      <p:sp>
        <p:nvSpPr>
          <p:cNvPr id="5" name="Верхний колонтитул 4">
            <a:extLst>
              <a:ext uri="{FF2B5EF4-FFF2-40B4-BE49-F238E27FC236}">
                <a16:creationId xmlns:a16="http://schemas.microsoft.com/office/drawing/2014/main" id="{24031A76-C43C-FF89-92AC-F718AE8EAAC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9863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>
            <a:extLst>
              <a:ext uri="{FF2B5EF4-FFF2-40B4-BE49-F238E27FC236}">
                <a16:creationId xmlns:a16="http://schemas.microsoft.com/office/drawing/2014/main" id="{CAD67365-A180-6236-EB57-D0A1B9DD9EC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Заметки 2">
            <a:extLst>
              <a:ext uri="{FF2B5EF4-FFF2-40B4-BE49-F238E27FC236}">
                <a16:creationId xmlns:a16="http://schemas.microsoft.com/office/drawing/2014/main" id="{04DF5129-B67C-5692-AFB5-E9F1981BFC5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20484" name="Номер слайда 3">
            <a:extLst>
              <a:ext uri="{FF2B5EF4-FFF2-40B4-BE49-F238E27FC236}">
                <a16:creationId xmlns:a16="http://schemas.microsoft.com/office/drawing/2014/main" id="{2CAD7F4E-EBC2-8BFA-1BF5-432CB96A216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94169160-091D-454D-884D-8C88595DE859}" type="slidenum">
              <a:rPr lang="ru-RU" altLang="ru-RU"/>
              <a:pPr/>
              <a:t>11</a:t>
            </a:fld>
            <a:endParaRPr lang="ru-RU" altLang="ru-RU"/>
          </a:p>
        </p:txBody>
      </p:sp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9E09A3E9-1F45-BD2F-23EC-AA48032FAFA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09A24C-310C-4497-B4F8-10D279948FA3}" type="slidenum">
              <a:rPr kumimoji="0" lang="ru-K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K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74529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FF1EB6-3D22-4DFE-817D-C83C6E2D6123}" type="slidenum">
              <a:rPr kumimoji="0" lang="kk-K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kk-K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13899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FF1EB6-3D22-4DFE-817D-C83C6E2D6123}" type="slidenum">
              <a:rPr kumimoji="0" lang="kk-K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kk-K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32298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8A4E2-1BA0-43DA-A773-AF412C64C59A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3594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888888"/>
                </a:solidFill>
                <a:latin typeface="Segoe UI Black"/>
                <a:cs typeface="Segoe UI Black"/>
              </a:defRPr>
            </a:lvl1pPr>
          </a:lstStyle>
          <a:p>
            <a:pPr marL="38100">
              <a:lnSpc>
                <a:spcPct val="100000"/>
              </a:lnSpc>
              <a:spcBef>
                <a:spcPts val="200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0" i="0">
                <a:solidFill>
                  <a:srgbClr val="B8530F"/>
                </a:solidFill>
                <a:latin typeface="Segoe UI Semibold"/>
                <a:cs typeface="Segoe UI 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888888"/>
                </a:solidFill>
                <a:latin typeface="Segoe UI Black"/>
                <a:cs typeface="Segoe UI Black"/>
              </a:defRPr>
            </a:lvl1pPr>
          </a:lstStyle>
          <a:p>
            <a:pPr marL="38100">
              <a:lnSpc>
                <a:spcPct val="100000"/>
              </a:lnSpc>
              <a:spcBef>
                <a:spcPts val="200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0" i="0">
                <a:solidFill>
                  <a:srgbClr val="B8530F"/>
                </a:solidFill>
                <a:latin typeface="Segoe UI Semibold"/>
                <a:cs typeface="Segoe UI 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888888"/>
                </a:solidFill>
                <a:latin typeface="Segoe UI Black"/>
                <a:cs typeface="Segoe UI Black"/>
              </a:defRPr>
            </a:lvl1pPr>
          </a:lstStyle>
          <a:p>
            <a:pPr marL="38100">
              <a:lnSpc>
                <a:spcPct val="100000"/>
              </a:lnSpc>
              <a:spcBef>
                <a:spcPts val="200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0" i="0">
                <a:solidFill>
                  <a:srgbClr val="B8530F"/>
                </a:solidFill>
                <a:latin typeface="Segoe UI Semibold"/>
                <a:cs typeface="Segoe UI 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888888"/>
                </a:solidFill>
                <a:latin typeface="Segoe UI Black"/>
                <a:cs typeface="Segoe UI Black"/>
              </a:defRPr>
            </a:lvl1pPr>
          </a:lstStyle>
          <a:p>
            <a:pPr marL="38100">
              <a:lnSpc>
                <a:spcPct val="100000"/>
              </a:lnSpc>
              <a:spcBef>
                <a:spcPts val="200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888888"/>
                </a:solidFill>
                <a:latin typeface="Segoe UI Black"/>
                <a:cs typeface="Segoe UI Black"/>
              </a:defRPr>
            </a:lvl1pPr>
          </a:lstStyle>
          <a:p>
            <a:pPr marL="38100">
              <a:lnSpc>
                <a:spcPct val="100000"/>
              </a:lnSpc>
              <a:spcBef>
                <a:spcPts val="200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C1B6C6C-C58D-C43C-D621-7C2A04298D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FD4E4-4340-4887-8D6D-8EB110BD92B4}" type="datetime1">
              <a:rPr lang="ru-RU"/>
              <a:pPr>
                <a:defRPr/>
              </a:pPr>
              <a:t>02.1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778BA2C-05E2-E438-A131-C9FD8BE4D6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5B2B87F-63F3-022F-FEF7-7875F712F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9D539C-7F70-4196-AA59-1A51AA669F5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705066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/>
          <p:cNvSpPr txBox="1"/>
          <p:nvPr userDrawn="1"/>
        </p:nvSpPr>
        <p:spPr>
          <a:xfrm>
            <a:off x="2547644" y="1701958"/>
            <a:ext cx="4006974" cy="7553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r>
              <a:rPr lang="ru-RU" sz="1400" b="1" dirty="0">
                <a:solidFill>
                  <a:srgbClr val="FFFFFF"/>
                </a:solidFill>
              </a:rPr>
              <a:t>Министерство труда и</a:t>
            </a:r>
          </a:p>
          <a:p>
            <a:r>
              <a:rPr lang="ru-RU" sz="1400" b="1" dirty="0">
                <a:solidFill>
                  <a:srgbClr val="FFFFFF"/>
                </a:solidFill>
              </a:rPr>
              <a:t>социальной защиты населения</a:t>
            </a:r>
          </a:p>
          <a:p>
            <a:r>
              <a:rPr lang="ru-RU" sz="1400" b="1" dirty="0">
                <a:solidFill>
                  <a:srgbClr val="FFFFFF"/>
                </a:solidFill>
              </a:rPr>
              <a:t>Республики Казахстан</a:t>
            </a:r>
            <a:endParaRPr 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925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C51F2-7CEE-4865-B98E-6BC5CD4C0ED8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84E01-1027-4459-9DB8-97C669A4C3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3714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3302253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27152" y="339674"/>
            <a:ext cx="8660130" cy="4521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0" i="0">
                <a:solidFill>
                  <a:srgbClr val="B8530F"/>
                </a:solidFill>
                <a:latin typeface="Segoe UI Semibold"/>
                <a:cs typeface="Segoe UI 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77774" y="1731644"/>
            <a:ext cx="11236451" cy="17322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648567" y="6404257"/>
            <a:ext cx="271779" cy="2667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rgbClr val="888888"/>
                </a:solidFill>
                <a:latin typeface="Segoe UI Black"/>
                <a:cs typeface="Segoe UI Black"/>
              </a:defRPr>
            </a:lvl1pPr>
          </a:lstStyle>
          <a:p>
            <a:pPr marL="38100">
              <a:lnSpc>
                <a:spcPct val="100000"/>
              </a:lnSpc>
              <a:spcBef>
                <a:spcPts val="200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0.png"/><Relationship Id="rId5" Type="http://schemas.microsoft.com/office/2014/relationships/chartEx" Target="../charts/chartEx1.xml"/><Relationship Id="rId4" Type="http://schemas.openxmlformats.org/officeDocument/2006/relationships/chart" Target="../charts/char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image" Target="../media/image41.png"/><Relationship Id="rId7" Type="http://schemas.openxmlformats.org/officeDocument/2006/relationships/diagramQuickStyle" Target="../diagrams/quickStyle3.xml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4" Type="http://schemas.openxmlformats.org/officeDocument/2006/relationships/image" Target="../media/image42.png"/><Relationship Id="rId9" Type="http://schemas.microsoft.com/office/2007/relationships/diagramDrawing" Target="../diagrams/drawing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chart" Target="../charts/chart1.xml"/><Relationship Id="rId18" Type="http://schemas.openxmlformats.org/officeDocument/2006/relationships/image" Target="../media/image18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7.png"/><Relationship Id="rId2" Type="http://schemas.openxmlformats.org/officeDocument/2006/relationships/image" Target="../media/image3.png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5.jp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4.jp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4.png"/><Relationship Id="rId4" Type="http://schemas.openxmlformats.org/officeDocument/2006/relationships/image" Target="../media/image44.sv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7.svg"/><Relationship Id="rId7" Type="http://schemas.openxmlformats.org/officeDocument/2006/relationships/image" Target="../media/image49.jpe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8.jpeg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3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sv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png"/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12" Type="http://schemas.openxmlformats.org/officeDocument/2006/relationships/image" Target="../media/image67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1.png"/><Relationship Id="rId11" Type="http://schemas.openxmlformats.org/officeDocument/2006/relationships/image" Target="../media/image66.png"/><Relationship Id="rId5" Type="http://schemas.openxmlformats.org/officeDocument/2006/relationships/image" Target="../media/image60.png"/><Relationship Id="rId15" Type="http://schemas.openxmlformats.org/officeDocument/2006/relationships/image" Target="../media/image70.png"/><Relationship Id="rId10" Type="http://schemas.openxmlformats.org/officeDocument/2006/relationships/image" Target="../media/image65.png"/><Relationship Id="rId4" Type="http://schemas.openxmlformats.org/officeDocument/2006/relationships/image" Target="../media/image59.png"/><Relationship Id="rId9" Type="http://schemas.openxmlformats.org/officeDocument/2006/relationships/image" Target="../media/image64.png"/><Relationship Id="rId14" Type="http://schemas.openxmlformats.org/officeDocument/2006/relationships/image" Target="../media/image69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jpeg"/><Relationship Id="rId3" Type="http://schemas.openxmlformats.org/officeDocument/2006/relationships/tags" Target="../tags/tag5.xml"/><Relationship Id="rId7" Type="http://schemas.openxmlformats.org/officeDocument/2006/relationships/image" Target="../media/image7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emf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0A9B2E-ACF8-E020-6C28-03E00DD91F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2">
            <a:extLst>
              <a:ext uri="{FF2B5EF4-FFF2-40B4-BE49-F238E27FC236}">
                <a16:creationId xmlns:a16="http://schemas.microsoft.com/office/drawing/2014/main" id="{830AC78B-76BA-8BDF-B206-F339EDC7453C}"/>
              </a:ext>
            </a:extLst>
          </p:cNvPr>
          <p:cNvSpPr txBox="1"/>
          <p:nvPr/>
        </p:nvSpPr>
        <p:spPr>
          <a:xfrm>
            <a:off x="691299" y="2492896"/>
            <a:ext cx="9793088" cy="1022075"/>
          </a:xfrm>
          <a:prstGeom prst="rect">
            <a:avLst/>
          </a:prstGeom>
        </p:spPr>
        <p:txBody>
          <a:bodyPr vert="horz" wrap="square" lIns="0" tIns="6350" rIns="0" bIns="0" rtlCol="0">
            <a:spAutoFit/>
          </a:bodyPr>
          <a:lstStyle/>
          <a:p>
            <a:pPr marL="6350">
              <a:spcBef>
                <a:spcPts val="50"/>
              </a:spcBef>
            </a:pPr>
            <a:r>
              <a:rPr lang="ru-RU" sz="3300" dirty="0">
                <a:latin typeface="Arial" panose="020B0604020202020204" pitchFamily="34" charset="0"/>
                <a:cs typeface="Arial" panose="020B0604020202020204" pitchFamily="34" charset="0"/>
              </a:rPr>
              <a:t>Актуальные вопросы защиты прав на безопасные условия труда</a:t>
            </a:r>
            <a:endParaRPr sz="3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5"/>
          <p:cNvSpPr txBox="1"/>
          <p:nvPr/>
        </p:nvSpPr>
        <p:spPr>
          <a:xfrm>
            <a:off x="4043772" y="19276"/>
            <a:ext cx="7519634" cy="6201985"/>
          </a:xfrm>
          <a:prstGeom prst="rect">
            <a:avLst/>
          </a:prstGeom>
        </p:spPr>
        <p:txBody>
          <a:bodyPr lIns="25400" tIns="25400" rIns="25400" bIns="25400" rtlCol="0" anchor="ctr"/>
          <a:lstStyle/>
          <a:p>
            <a:pPr algn="ctr">
              <a:lnSpc>
                <a:spcPts val="1330"/>
              </a:lnSpc>
              <a:spcBef>
                <a:spcPct val="0"/>
              </a:spcBef>
            </a:pPr>
            <a:endParaRPr sz="90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flipV="1">
            <a:off x="695400" y="3753036"/>
            <a:ext cx="568863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bject 22">
            <a:extLst>
              <a:ext uri="{FF2B5EF4-FFF2-40B4-BE49-F238E27FC236}">
                <a16:creationId xmlns:a16="http://schemas.microsoft.com/office/drawing/2014/main" id="{55821010-CFFC-DBD3-8B7A-40BF3B5E643A}"/>
              </a:ext>
            </a:extLst>
          </p:cNvPr>
          <p:cNvSpPr txBox="1"/>
          <p:nvPr/>
        </p:nvSpPr>
        <p:spPr>
          <a:xfrm>
            <a:off x="9372364" y="6381328"/>
            <a:ext cx="3827042" cy="252633"/>
          </a:xfrm>
          <a:prstGeom prst="rect">
            <a:avLst/>
          </a:prstGeom>
        </p:spPr>
        <p:txBody>
          <a:bodyPr vert="horz" wrap="square" lIns="0" tIns="6350" rIns="0" bIns="0" rtlCol="0">
            <a:spAutoFit/>
          </a:bodyPr>
          <a:lstStyle/>
          <a:p>
            <a:pPr marL="6350">
              <a:spcBef>
                <a:spcPts val="50"/>
              </a:spcBef>
            </a:pP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, 28 ноября 2025 г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0594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4">
            <a:extLst>
              <a:ext uri="{FF2B5EF4-FFF2-40B4-BE49-F238E27FC236}">
                <a16:creationId xmlns:a16="http://schemas.microsoft.com/office/drawing/2014/main" id="{7D7823FA-A3A1-42A8-BE17-FE8FDD352FA8}"/>
              </a:ext>
            </a:extLst>
          </p:cNvPr>
          <p:cNvSpPr txBox="1">
            <a:spLocks/>
          </p:cNvSpPr>
          <p:nvPr/>
        </p:nvSpPr>
        <p:spPr bwMode="auto">
          <a:xfrm>
            <a:off x="119337" y="161921"/>
            <a:ext cx="11182921" cy="395180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вентивные мероприятия в рамках системы обязательного страхования от несчастных случаев </a:t>
            </a:r>
          </a:p>
        </p:txBody>
      </p:sp>
      <p:sp>
        <p:nvSpPr>
          <p:cNvPr id="75" name="ee4pHeader1">
            <a:extLst>
              <a:ext uri="{FF2B5EF4-FFF2-40B4-BE49-F238E27FC236}">
                <a16:creationId xmlns:a16="http://schemas.microsoft.com/office/drawing/2014/main" id="{A150B201-AF69-4899-991E-61DE68428090}"/>
              </a:ext>
            </a:extLst>
          </p:cNvPr>
          <p:cNvSpPr txBox="1"/>
          <p:nvPr/>
        </p:nvSpPr>
        <p:spPr>
          <a:xfrm>
            <a:off x="410570" y="976437"/>
            <a:ext cx="5301383" cy="42960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 algn="ctr" defTabSz="914377">
              <a:defRPr/>
            </a:pP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Меры по устранению факторов профессионального риска </a:t>
            </a:r>
            <a:r>
              <a:rPr lang="ru-RU" sz="1467" dirty="0">
                <a:solidFill>
                  <a:srgbClr val="C00000"/>
                </a:solidFill>
                <a:latin typeface="Arial" panose="020B0604020202020204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(23 наименования)</a:t>
            </a:r>
          </a:p>
        </p:txBody>
      </p:sp>
      <p:sp>
        <p:nvSpPr>
          <p:cNvPr id="116" name="ee4pHeader1">
            <a:extLst>
              <a:ext uri="{FF2B5EF4-FFF2-40B4-BE49-F238E27FC236}">
                <a16:creationId xmlns:a16="http://schemas.microsoft.com/office/drawing/2014/main" id="{F87F72C1-3633-49B6-8D58-18A0DCC23C49}"/>
              </a:ext>
            </a:extLst>
          </p:cNvPr>
          <p:cNvSpPr txBox="1"/>
          <p:nvPr/>
        </p:nvSpPr>
        <p:spPr>
          <a:xfrm>
            <a:off x="6283594" y="967774"/>
            <a:ext cx="5765068" cy="34791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 algn="ctr" defTabSz="914377">
              <a:defRPr/>
            </a:pP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ы, направленные на сохранение трудоспособности </a:t>
            </a:r>
            <a:endParaRPr lang="ru-RU" sz="1600" b="1" dirty="0">
              <a:solidFill>
                <a:srgbClr val="C00000"/>
              </a:solidFill>
              <a:latin typeface="Arial" panose="020B0604020202020204" pitchFamily="34" charset="0"/>
              <a:ea typeface="Segoe UI Black" panose="020B0A02040204020203" pitchFamily="34" charset="0"/>
              <a:cs typeface="Arial" panose="020B0604020202020204" pitchFamily="34" charset="0"/>
            </a:endParaRPr>
          </a:p>
        </p:txBody>
      </p:sp>
      <p:cxnSp>
        <p:nvCxnSpPr>
          <p:cNvPr id="170" name="Прямая соединительная линия 169"/>
          <p:cNvCxnSpPr>
            <a:cxnSpLocks/>
          </p:cNvCxnSpPr>
          <p:nvPr/>
        </p:nvCxnSpPr>
        <p:spPr>
          <a:xfrm>
            <a:off x="6192011" y="1220755"/>
            <a:ext cx="0" cy="3654837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75" name="Прямая соединительная линия 174"/>
          <p:cNvCxnSpPr/>
          <p:nvPr/>
        </p:nvCxnSpPr>
        <p:spPr>
          <a:xfrm flipH="1" flipV="1">
            <a:off x="6192011" y="4538084"/>
            <a:ext cx="0" cy="1692000"/>
          </a:xfrm>
          <a:prstGeom prst="line">
            <a:avLst/>
          </a:prstGeom>
          <a:ln>
            <a:solidFill>
              <a:srgbClr val="00206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bject 10"/>
          <p:cNvSpPr txBox="1"/>
          <p:nvPr/>
        </p:nvSpPr>
        <p:spPr>
          <a:xfrm>
            <a:off x="773911" y="2442770"/>
            <a:ext cx="5409388" cy="46499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92072">
              <a:spcBef>
                <a:spcPts val="105"/>
              </a:spcBef>
            </a:pPr>
            <a:r>
              <a:rPr lang="ru-RU" sz="1467" b="1" dirty="0">
                <a:latin typeface="Arial" panose="020B0604020202020204" pitchFamily="34" charset="0"/>
                <a:cs typeface="Arial" panose="020B0604020202020204" pitchFamily="34" charset="0"/>
              </a:rPr>
              <a:t>обучение </a:t>
            </a:r>
            <a:r>
              <a:rPr lang="ru-RU" sz="1467" dirty="0">
                <a:latin typeface="Arial" panose="020B0604020202020204" pitchFamily="34" charset="0"/>
                <a:cs typeface="Arial" panose="020B0604020202020204" pitchFamily="34" charset="0"/>
              </a:rPr>
              <a:t>руководителей и лиц, ответственных за охрану труда </a:t>
            </a:r>
            <a:r>
              <a:rPr lang="ru-RU" sz="1467" b="1" dirty="0">
                <a:latin typeface="Arial" panose="020B0604020202020204" pitchFamily="34" charset="0"/>
                <a:cs typeface="Arial" panose="020B0604020202020204" pitchFamily="34" charset="0"/>
              </a:rPr>
              <a:t>(6 </a:t>
            </a:r>
            <a:r>
              <a:rPr lang="ru-RU" sz="1467" b="1" dirty="0" err="1">
                <a:latin typeface="Arial" panose="020B0604020202020204" pitchFamily="34" charset="0"/>
                <a:cs typeface="Arial" panose="020B0604020202020204" pitchFamily="34" charset="0"/>
              </a:rPr>
              <a:t>млрд.тенге</a:t>
            </a:r>
            <a:r>
              <a:rPr lang="ru-RU" sz="1467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sz="14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object 11"/>
          <p:cNvSpPr txBox="1"/>
          <p:nvPr/>
        </p:nvSpPr>
        <p:spPr>
          <a:xfrm>
            <a:off x="903562" y="2960130"/>
            <a:ext cx="5192436" cy="46499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92072" marR="98423">
              <a:spcBef>
                <a:spcPts val="105"/>
              </a:spcBef>
            </a:pPr>
            <a:r>
              <a:rPr lang="ru-RU" sz="1467" dirty="0">
                <a:latin typeface="Arial" panose="020B0604020202020204" pitchFamily="34" charset="0"/>
                <a:cs typeface="Arial" panose="020B0604020202020204" pitchFamily="34" charset="0"/>
              </a:rPr>
              <a:t>Обеспечение</a:t>
            </a:r>
            <a:r>
              <a:rPr lang="ru-RU" sz="1467" b="1" dirty="0">
                <a:latin typeface="Arial" panose="020B0604020202020204" pitchFamily="34" charset="0"/>
                <a:cs typeface="Arial" panose="020B0604020202020204" pitchFamily="34" charset="0"/>
              </a:rPr>
              <a:t> санитарно-бытовыми устройствами (15,2 млрд.</a:t>
            </a:r>
            <a:r>
              <a:rPr lang="ru-RU" sz="1467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67" b="1" dirty="0">
                <a:latin typeface="Arial" panose="020B0604020202020204" pitchFamily="34" charset="0"/>
                <a:cs typeface="Arial" panose="020B0604020202020204" pitchFamily="34" charset="0"/>
              </a:rPr>
              <a:t>тенге)</a:t>
            </a:r>
            <a:endParaRPr sz="14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object 13"/>
          <p:cNvSpPr txBox="1"/>
          <p:nvPr/>
        </p:nvSpPr>
        <p:spPr>
          <a:xfrm>
            <a:off x="1009382" y="3526898"/>
            <a:ext cx="5173916" cy="46435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2072" marR="98423">
              <a:spcBef>
                <a:spcPts val="105"/>
              </a:spcBef>
            </a:pPr>
            <a:r>
              <a:rPr lang="ru-RU" sz="1467" dirty="0">
                <a:latin typeface="Arial" panose="020B0604020202020204" pitchFamily="34" charset="0"/>
                <a:cs typeface="Arial" panose="020B0604020202020204" pitchFamily="34" charset="0"/>
              </a:rPr>
              <a:t>Обеспечение</a:t>
            </a:r>
            <a:r>
              <a:rPr lang="ru-RU" sz="1467" b="1" dirty="0">
                <a:latin typeface="Arial" panose="020B0604020202020204" pitchFamily="34" charset="0"/>
                <a:cs typeface="Arial" panose="020B0604020202020204" pitchFamily="34" charset="0"/>
              </a:rPr>
              <a:t> средствами индивидуальной защиты  - 79 </a:t>
            </a:r>
            <a:r>
              <a:rPr lang="ru-RU" sz="1467" b="1" dirty="0" err="1">
                <a:latin typeface="Arial" panose="020B0604020202020204" pitchFamily="34" charset="0"/>
                <a:cs typeface="Arial" panose="020B0604020202020204" pitchFamily="34" charset="0"/>
              </a:rPr>
              <a:t>млрд.тенге</a:t>
            </a:r>
            <a:endParaRPr sz="14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object 17"/>
          <p:cNvSpPr txBox="1"/>
          <p:nvPr/>
        </p:nvSpPr>
        <p:spPr>
          <a:xfrm>
            <a:off x="815414" y="4926278"/>
            <a:ext cx="5280581" cy="46435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2072" marR="5080">
              <a:spcBef>
                <a:spcPts val="100"/>
              </a:spcBef>
            </a:pPr>
            <a:r>
              <a:rPr lang="ru-RU" sz="1467" dirty="0">
                <a:latin typeface="Arial" panose="020B0604020202020204" pitchFamily="34" charset="0"/>
                <a:cs typeface="Arial" panose="020B0604020202020204" pitchFamily="34" charset="0"/>
              </a:rPr>
              <a:t>Обеспечение</a:t>
            </a:r>
            <a:r>
              <a:rPr lang="ru-RU" sz="1467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67" b="1" dirty="0" err="1">
                <a:latin typeface="Arial" panose="020B0604020202020204" pitchFamily="34" charset="0"/>
                <a:cs typeface="Arial" panose="020B0604020202020204" pitchFamily="34" charset="0"/>
              </a:rPr>
              <a:t>средств</a:t>
            </a:r>
            <a:r>
              <a:rPr lang="ru-RU" sz="1467" b="1" dirty="0" err="1">
                <a:latin typeface="Arial" panose="020B0604020202020204" pitchFamily="34" charset="0"/>
                <a:cs typeface="Arial" panose="020B0604020202020204" pitchFamily="34" charset="0"/>
              </a:rPr>
              <a:t>ами</a:t>
            </a:r>
            <a:r>
              <a:rPr lang="en-US" sz="1467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67" b="1" dirty="0" err="1">
                <a:latin typeface="Arial" panose="020B0604020202020204" pitchFamily="34" charset="0"/>
                <a:cs typeface="Arial" panose="020B0604020202020204" pitchFamily="34" charset="0"/>
              </a:rPr>
              <a:t>коллективной</a:t>
            </a:r>
            <a:r>
              <a:rPr lang="en-US" sz="1467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67" b="1" dirty="0" err="1">
                <a:latin typeface="Arial" panose="020B0604020202020204" pitchFamily="34" charset="0"/>
                <a:cs typeface="Arial" panose="020B0604020202020204" pitchFamily="34" charset="0"/>
              </a:rPr>
              <a:t>защиты</a:t>
            </a:r>
            <a:r>
              <a:rPr lang="ru-RU" sz="1467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67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467" b="1" dirty="0">
                <a:latin typeface="Arial" panose="020B0604020202020204" pitchFamily="34" charset="0"/>
                <a:cs typeface="Arial" panose="020B0604020202020204" pitchFamily="34" charset="0"/>
              </a:rPr>
              <a:t>12 </a:t>
            </a:r>
            <a:r>
              <a:rPr lang="ru-RU" sz="1467" b="1" dirty="0" err="1">
                <a:latin typeface="Arial" panose="020B0604020202020204" pitchFamily="34" charset="0"/>
                <a:cs typeface="Arial" panose="020B0604020202020204" pitchFamily="34" charset="0"/>
              </a:rPr>
              <a:t>млрд.тенге</a:t>
            </a:r>
            <a:r>
              <a:rPr lang="ru-RU" sz="1467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sz="14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object 19"/>
          <p:cNvSpPr txBox="1"/>
          <p:nvPr/>
        </p:nvSpPr>
        <p:spPr>
          <a:xfrm>
            <a:off x="874206" y="4198973"/>
            <a:ext cx="5409388" cy="46435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12700" marR="5080" algn="just">
              <a:lnSpc>
                <a:spcPct val="100000"/>
              </a:lnSpc>
              <a:spcBef>
                <a:spcPts val="100"/>
              </a:spcBef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92072" marR="98423" algn="l">
              <a:spcBef>
                <a:spcPts val="105"/>
              </a:spcBef>
            </a:pPr>
            <a:r>
              <a:rPr lang="ru-RU" sz="1467" dirty="0"/>
              <a:t>проведение </a:t>
            </a:r>
            <a:r>
              <a:rPr lang="ru-RU" sz="1467" b="1" dirty="0"/>
              <a:t>медицинских осмотров </a:t>
            </a:r>
            <a:r>
              <a:rPr lang="ru-RU" sz="1467" dirty="0"/>
              <a:t>и предсменного медицинского освидетельствования </a:t>
            </a:r>
            <a:r>
              <a:rPr lang="ru-RU" sz="1467" b="1" dirty="0"/>
              <a:t>(22,3 </a:t>
            </a:r>
            <a:r>
              <a:rPr lang="ru-RU" sz="1467" b="1" dirty="0" err="1"/>
              <a:t>млрд.тенге</a:t>
            </a:r>
            <a:r>
              <a:rPr lang="ru-RU" sz="1467" b="1" dirty="0"/>
              <a:t>)</a:t>
            </a:r>
            <a:endParaRPr sz="1467" b="1" dirty="0"/>
          </a:p>
        </p:txBody>
      </p:sp>
      <p:sp>
        <p:nvSpPr>
          <p:cNvPr id="66" name="TextBox 65"/>
          <p:cNvSpPr txBox="1"/>
          <p:nvPr/>
        </p:nvSpPr>
        <p:spPr>
          <a:xfrm>
            <a:off x="604893" y="1687209"/>
            <a:ext cx="6259192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 marR="1052168" algn="just">
              <a:spcBef>
                <a:spcPts val="805"/>
              </a:spcBef>
            </a:pPr>
            <a:r>
              <a:rPr lang="ru-RU" sz="1467" b="1" dirty="0">
                <a:latin typeface="Arial" panose="020B0604020202020204" pitchFamily="34" charset="0"/>
                <a:cs typeface="Arial" panose="020B0604020202020204" pitchFamily="34" charset="0"/>
              </a:rPr>
              <a:t>проведение</a:t>
            </a:r>
            <a:r>
              <a:rPr lang="ru-RU" sz="1467" dirty="0">
                <a:latin typeface="Arial" panose="020B0604020202020204" pitchFamily="34" charset="0"/>
                <a:cs typeface="Arial" panose="020B0604020202020204" pitchFamily="34" charset="0"/>
              </a:rPr>
              <a:t> оценки профессиональных </a:t>
            </a:r>
            <a:r>
              <a:rPr lang="ru-RU" sz="1467" b="1" dirty="0">
                <a:latin typeface="Arial" panose="020B0604020202020204" pitchFamily="34" charset="0"/>
                <a:cs typeface="Arial" panose="020B0604020202020204" pitchFamily="34" charset="0"/>
              </a:rPr>
              <a:t>рисков (</a:t>
            </a:r>
            <a:r>
              <a:rPr lang="ru-KZ" sz="1467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467" b="1" dirty="0">
                <a:latin typeface="Arial" panose="020B0604020202020204" pitchFamily="34" charset="0"/>
                <a:cs typeface="Arial" panose="020B0604020202020204" pitchFamily="34" charset="0"/>
              </a:rPr>
              <a:t>,6 </a:t>
            </a:r>
            <a:r>
              <a:rPr lang="ru-RU" sz="1467" b="1" dirty="0" err="1">
                <a:latin typeface="Arial" panose="020B0604020202020204" pitchFamily="34" charset="0"/>
                <a:cs typeface="Arial" panose="020B0604020202020204" pitchFamily="34" charset="0"/>
              </a:rPr>
              <a:t>млрд.тенге</a:t>
            </a:r>
            <a:r>
              <a:rPr lang="ru-RU" sz="1467" b="1" dirty="0">
                <a:latin typeface="Arial" panose="020B0604020202020204" pitchFamily="34" charset="0"/>
                <a:cs typeface="Arial" panose="020B0604020202020204" pitchFamily="34" charset="0"/>
              </a:rPr>
              <a:t> в 2024 году)</a:t>
            </a:r>
          </a:p>
        </p:txBody>
      </p:sp>
      <p:sp>
        <p:nvSpPr>
          <p:cNvPr id="72" name="Полилиния 71"/>
          <p:cNvSpPr/>
          <p:nvPr/>
        </p:nvSpPr>
        <p:spPr>
          <a:xfrm>
            <a:off x="364389" y="1825381"/>
            <a:ext cx="521011" cy="3669700"/>
          </a:xfrm>
          <a:custGeom>
            <a:avLst/>
            <a:gdLst>
              <a:gd name="connsiteX0" fmla="*/ 0 w 425830"/>
              <a:gd name="connsiteY0" fmla="*/ 0 h 3133972"/>
              <a:gd name="connsiteX1" fmla="*/ 31837 w 425830"/>
              <a:gd name="connsiteY1" fmla="*/ 35482 h 3133972"/>
              <a:gd name="connsiteX2" fmla="*/ 425830 w 425830"/>
              <a:gd name="connsiteY2" fmla="*/ 1566986 h 3133972"/>
              <a:gd name="connsiteX3" fmla="*/ 31837 w 425830"/>
              <a:gd name="connsiteY3" fmla="*/ 3098490 h 3133972"/>
              <a:gd name="connsiteX4" fmla="*/ 0 w 425830"/>
              <a:gd name="connsiteY4" fmla="*/ 3133972 h 3133972"/>
              <a:gd name="connsiteX5" fmla="*/ 0 w 425830"/>
              <a:gd name="connsiteY5" fmla="*/ 0 h 3133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5830" h="3133972">
                <a:moveTo>
                  <a:pt x="0" y="0"/>
                </a:moveTo>
                <a:lnTo>
                  <a:pt x="31837" y="35482"/>
                </a:lnTo>
                <a:cubicBezTo>
                  <a:pt x="266517" y="330424"/>
                  <a:pt x="425830" y="905663"/>
                  <a:pt x="425830" y="1566986"/>
                </a:cubicBezTo>
                <a:cubicBezTo>
                  <a:pt x="425830" y="2228310"/>
                  <a:pt x="266517" y="2803548"/>
                  <a:pt x="31837" y="3098490"/>
                </a:cubicBezTo>
                <a:lnTo>
                  <a:pt x="0" y="313397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422789" y="2052996"/>
            <a:ext cx="182104" cy="180241"/>
          </a:xfrm>
          <a:prstGeom prst="ellipse">
            <a:avLst/>
          </a:prstGeom>
          <a:solidFill>
            <a:srgbClr val="00206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Овал 76"/>
          <p:cNvSpPr/>
          <p:nvPr/>
        </p:nvSpPr>
        <p:spPr>
          <a:xfrm>
            <a:off x="633309" y="2468894"/>
            <a:ext cx="182104" cy="180241"/>
          </a:xfrm>
          <a:prstGeom prst="ellipse">
            <a:avLst/>
          </a:prstGeom>
          <a:solidFill>
            <a:srgbClr val="00206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Овал 77"/>
          <p:cNvSpPr/>
          <p:nvPr/>
        </p:nvSpPr>
        <p:spPr>
          <a:xfrm>
            <a:off x="721129" y="3078093"/>
            <a:ext cx="182104" cy="180241"/>
          </a:xfrm>
          <a:prstGeom prst="ellipse">
            <a:avLst/>
          </a:prstGeom>
          <a:solidFill>
            <a:srgbClr val="00206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Овал 78"/>
          <p:cNvSpPr/>
          <p:nvPr/>
        </p:nvSpPr>
        <p:spPr>
          <a:xfrm>
            <a:off x="771904" y="3624094"/>
            <a:ext cx="182104" cy="180241"/>
          </a:xfrm>
          <a:prstGeom prst="ellipse">
            <a:avLst/>
          </a:prstGeom>
          <a:solidFill>
            <a:srgbClr val="00206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Овал 80"/>
          <p:cNvSpPr/>
          <p:nvPr/>
        </p:nvSpPr>
        <p:spPr>
          <a:xfrm>
            <a:off x="719403" y="4293097"/>
            <a:ext cx="182104" cy="180241"/>
          </a:xfrm>
          <a:prstGeom prst="ellipse">
            <a:avLst/>
          </a:prstGeom>
          <a:solidFill>
            <a:srgbClr val="00206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Овал 81"/>
          <p:cNvSpPr/>
          <p:nvPr/>
        </p:nvSpPr>
        <p:spPr>
          <a:xfrm>
            <a:off x="527381" y="4976952"/>
            <a:ext cx="182104" cy="180241"/>
          </a:xfrm>
          <a:prstGeom prst="ellipse">
            <a:avLst/>
          </a:prstGeom>
          <a:solidFill>
            <a:srgbClr val="00206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A4EFAB10-5306-8322-84AB-3352731C05C8}"/>
              </a:ext>
            </a:extLst>
          </p:cNvPr>
          <p:cNvGrpSpPr/>
          <p:nvPr/>
        </p:nvGrpSpPr>
        <p:grpSpPr>
          <a:xfrm>
            <a:off x="6259770" y="1543651"/>
            <a:ext cx="5509436" cy="4233156"/>
            <a:chOff x="5090800" y="1403484"/>
            <a:chExt cx="3444487" cy="3191105"/>
          </a:xfrm>
        </p:grpSpPr>
        <p:sp>
          <p:nvSpPr>
            <p:cNvPr id="131" name="ee4pHeader1">
              <a:extLst>
                <a:ext uri="{FF2B5EF4-FFF2-40B4-BE49-F238E27FC236}">
                  <a16:creationId xmlns:a16="http://schemas.microsoft.com/office/drawing/2014/main" id="{D316939A-6C2C-421D-92B3-7F20DD03BC5A}"/>
                </a:ext>
              </a:extLst>
            </p:cNvPr>
            <p:cNvSpPr txBox="1"/>
            <p:nvPr/>
          </p:nvSpPr>
          <p:spPr>
            <a:xfrm>
              <a:off x="5302444" y="3567636"/>
              <a:ext cx="3105660" cy="593440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87310" defTabSz="914377">
                <a:spcAft>
                  <a:spcPts val="600"/>
                </a:spcAft>
                <a:buClr>
                  <a:srgbClr val="000000">
                    <a:lumMod val="65000"/>
                    <a:lumOff val="35000"/>
                  </a:srgbClr>
                </a:buClr>
                <a:buSzPct val="100000"/>
                <a:defRPr/>
              </a:pP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приобретение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физиотерапевтического оборудования </a:t>
              </a: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в медицинские пункты предприятий для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лиц, работающих во вредных и опасных условиях труда</a:t>
              </a:r>
            </a:p>
            <a:p>
              <a:pPr marL="87310" defTabSz="914377">
                <a:spcAft>
                  <a:spcPts val="600"/>
                </a:spcAft>
                <a:buClr>
                  <a:srgbClr val="000000">
                    <a:lumMod val="65000"/>
                    <a:lumOff val="35000"/>
                  </a:srgbClr>
                </a:buClr>
                <a:buSzPct val="100000"/>
                <a:defRPr/>
              </a:pP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оплата труда методистов, тренеров,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реабилитологов</a:t>
              </a: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, привлекаемых к выполнению указанных мероприятий</a:t>
              </a:r>
            </a:p>
            <a:p>
              <a:pPr marL="87310" defTabSz="914377">
                <a:spcAft>
                  <a:spcPts val="600"/>
                </a:spcAft>
                <a:buClr>
                  <a:srgbClr val="000000">
                    <a:lumMod val="65000"/>
                    <a:lumOff val="35000"/>
                  </a:srgbClr>
                </a:buClr>
                <a:buSzPct val="100000"/>
                <a:defRPr/>
              </a:pP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направление на оздоровление в условиях профилактория, пансионатов и санаторно-курортного лечения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для лиц, работающих во вредных и опасных условиях труда</a:t>
              </a:r>
            </a:p>
            <a:p>
              <a:pPr marL="87310" defTabSz="914377">
                <a:spcAft>
                  <a:spcPts val="600"/>
                </a:spcAft>
                <a:buClr>
                  <a:srgbClr val="000000">
                    <a:lumMod val="65000"/>
                    <a:lumOff val="35000"/>
                  </a:srgbClr>
                </a:buClr>
                <a:buSzPct val="100000"/>
                <a:defRPr/>
              </a:pPr>
              <a:endParaRPr lang="ru-RU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object 17"/>
            <p:cNvSpPr txBox="1"/>
            <p:nvPr/>
          </p:nvSpPr>
          <p:spPr>
            <a:xfrm>
              <a:off x="5319438" y="3240001"/>
              <a:ext cx="3105660" cy="288566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 marR="5080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Приобретение индивидуальных средств профилактики, средств ортопедической защиты (коррекции)</a:t>
              </a:r>
              <a:r>
                <a:rPr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sz="1200" i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object 19"/>
            <p:cNvSpPr txBox="1"/>
            <p:nvPr/>
          </p:nvSpPr>
          <p:spPr>
            <a:xfrm>
              <a:off x="5369130" y="1403484"/>
              <a:ext cx="3135620" cy="458613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/>
              <a:r>
                <a:rPr lang="ru-RU" sz="1333" b="1" dirty="0">
                  <a:latin typeface="Arial" panose="020B0604020202020204" pitchFamily="34" charset="0"/>
                  <a:cs typeface="Arial" panose="020B0604020202020204" pitchFamily="34" charset="0"/>
                </a:rPr>
                <a:t>Оснащение оздоровительных профилактических мероприятий </a:t>
              </a: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(инвентари, стенды, тренажеры, наглядные материалы) </a:t>
              </a:r>
              <a:endParaRPr sz="1200" i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object 21"/>
            <p:cNvSpPr txBox="1"/>
            <p:nvPr/>
          </p:nvSpPr>
          <p:spPr>
            <a:xfrm>
              <a:off x="5361772" y="1935279"/>
              <a:ext cx="3063326" cy="474032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 marR="316857">
                <a:spcBef>
                  <a:spcPts val="105"/>
                </a:spcBef>
              </a:pPr>
              <a:r>
                <a:rPr lang="ru-RU" sz="1333" dirty="0">
                  <a:latin typeface="Arial" panose="020B0604020202020204" pitchFamily="34" charset="0"/>
                  <a:cs typeface="Arial" panose="020B0604020202020204" pitchFamily="34" charset="0"/>
                </a:rPr>
                <a:t>Устройство и содержание помещений и площадок </a:t>
              </a:r>
              <a:r>
                <a:rPr lang="ru-RU" sz="1333" b="1" dirty="0">
                  <a:latin typeface="Arial" panose="020B0604020202020204" pitchFamily="34" charset="0"/>
                  <a:cs typeface="Arial" panose="020B0604020202020204" pitchFamily="34" charset="0"/>
                </a:rPr>
                <a:t>(кабинетов) для проведения оздоровительных мероприятий, психоэмоциональных разгрузок</a:t>
              </a:r>
              <a:endParaRPr sz="1333" i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object 41"/>
            <p:cNvSpPr txBox="1"/>
            <p:nvPr/>
          </p:nvSpPr>
          <p:spPr>
            <a:xfrm>
              <a:off x="5389192" y="2482542"/>
              <a:ext cx="3146095" cy="737028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 marR="634984"/>
              <a:r>
                <a:rPr lang="ru-RU" sz="1333" b="1" dirty="0">
                  <a:latin typeface="Arial" panose="020B0604020202020204" pitchFamily="34" charset="0"/>
                  <a:cs typeface="Arial" panose="020B0604020202020204" pitchFamily="34" charset="0"/>
                </a:rPr>
                <a:t>Организация и проведение оздоровительных мероприятий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: </a:t>
              </a:r>
            </a:p>
            <a:p>
              <a:pPr marL="241294" marR="634984" indent="-228594">
                <a:buFontTx/>
                <a:buChar char="-"/>
              </a:pP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производственной гимнастики, </a:t>
              </a:r>
            </a:p>
            <a:p>
              <a:pPr marL="241294" marR="634984" indent="-228594">
                <a:buFontTx/>
                <a:buChar char="-"/>
              </a:pP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ЛФК по результатам обязательных периодических медицинских осмотров</a:t>
              </a:r>
              <a:endParaRPr sz="1200" i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Овал 95"/>
            <p:cNvSpPr/>
            <p:nvPr/>
          </p:nvSpPr>
          <p:spPr>
            <a:xfrm>
              <a:off x="5090800" y="1437979"/>
              <a:ext cx="108000" cy="108416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Овал 96"/>
            <p:cNvSpPr/>
            <p:nvPr/>
          </p:nvSpPr>
          <p:spPr>
            <a:xfrm>
              <a:off x="5097104" y="2000899"/>
              <a:ext cx="108000" cy="108416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Овал 97"/>
            <p:cNvSpPr/>
            <p:nvPr/>
          </p:nvSpPr>
          <p:spPr>
            <a:xfrm>
              <a:off x="5129011" y="2516644"/>
              <a:ext cx="108000" cy="108416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Овал 98"/>
            <p:cNvSpPr/>
            <p:nvPr/>
          </p:nvSpPr>
          <p:spPr>
            <a:xfrm>
              <a:off x="5148475" y="3323519"/>
              <a:ext cx="108000" cy="108416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Овал 101"/>
            <p:cNvSpPr/>
            <p:nvPr/>
          </p:nvSpPr>
          <p:spPr>
            <a:xfrm>
              <a:off x="5187300" y="4236142"/>
              <a:ext cx="108000" cy="108416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Овал 102"/>
            <p:cNvSpPr/>
            <p:nvPr/>
          </p:nvSpPr>
          <p:spPr>
            <a:xfrm>
              <a:off x="5187300" y="4486173"/>
              <a:ext cx="108000" cy="108416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object 17">
            <a:extLst>
              <a:ext uri="{FF2B5EF4-FFF2-40B4-BE49-F238E27FC236}">
                <a16:creationId xmlns:a16="http://schemas.microsoft.com/office/drawing/2014/main" id="{CF963CD1-4714-FD47-CA4F-3B1A07F6B6AE}"/>
              </a:ext>
            </a:extLst>
          </p:cNvPr>
          <p:cNvSpPr txBox="1"/>
          <p:nvPr/>
        </p:nvSpPr>
        <p:spPr>
          <a:xfrm>
            <a:off x="422790" y="5676123"/>
            <a:ext cx="5673207" cy="8694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2072" marR="5080">
              <a:spcBef>
                <a:spcPts val="100"/>
              </a:spcBef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Затраты работодателей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на охрану труда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в 2024 году – 434,5 млрд. тенге,</a:t>
            </a:r>
          </a:p>
          <a:p>
            <a:pPr marL="92072" marR="5080">
              <a:spcBef>
                <a:spcPts val="100"/>
              </a:spcBef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из них на превентивные меры – 137,1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млрд.тенге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92072" marR="5080">
              <a:spcBef>
                <a:spcPts val="100"/>
              </a:spcBef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926C25-354C-0717-FF5F-8E9302FAB974}"/>
              </a:ext>
            </a:extLst>
          </p:cNvPr>
          <p:cNvSpPr txBox="1"/>
          <p:nvPr/>
        </p:nvSpPr>
        <p:spPr>
          <a:xfrm>
            <a:off x="11770993" y="6488668"/>
            <a:ext cx="407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KZ" sz="1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695DE32E-5A3F-D1C8-1AD0-0BAA556FE278}"/>
              </a:ext>
            </a:extLst>
          </p:cNvPr>
          <p:cNvSpPr/>
          <p:nvPr/>
        </p:nvSpPr>
        <p:spPr>
          <a:xfrm>
            <a:off x="6379608" y="4538083"/>
            <a:ext cx="176505" cy="143819"/>
          </a:xfrm>
          <a:prstGeom prst="ellipse">
            <a:avLst/>
          </a:prstGeom>
          <a:solidFill>
            <a:srgbClr val="00206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33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 descr="Изображение выглядит как Графика, графический дизайн, Шрифт, логотип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CF6F1F61-F1EF-E373-8983-C740B90B9E2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339" y="76420"/>
            <a:ext cx="1310909" cy="219577"/>
          </a:xfrm>
          <a:prstGeom prst="rect">
            <a:avLst/>
          </a:prstGeom>
          <a:ln>
            <a:noFill/>
          </a:ln>
        </p:spPr>
      </p:pic>
      <p:pic>
        <p:nvPicPr>
          <p:cNvPr id="9" name="Picture 11" descr="gerb">
            <a:extLst>
              <a:ext uri="{FF2B5EF4-FFF2-40B4-BE49-F238E27FC236}">
                <a16:creationId xmlns:a16="http://schemas.microsoft.com/office/drawing/2014/main" id="{9955B324-77D1-5168-3FBA-6D1F963E17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6024" y="71288"/>
            <a:ext cx="49244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55536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FC51AC75-ED5E-B365-D7FD-5166509680EE}"/>
              </a:ext>
            </a:extLst>
          </p:cNvPr>
          <p:cNvSpPr/>
          <p:nvPr/>
        </p:nvSpPr>
        <p:spPr bwMode="auto">
          <a:xfrm>
            <a:off x="201585" y="452669"/>
            <a:ext cx="11661308" cy="9601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000" b="1" dirty="0"/>
          </a:p>
          <a:p>
            <a:pPr algn="ctr">
              <a:defRPr/>
            </a:pPr>
            <a:r>
              <a:rPr lang="ru-RU" sz="1867" b="1" dirty="0"/>
              <a:t>Мероприятия по социальной и (или) профессиональной </a:t>
            </a:r>
          </a:p>
          <a:p>
            <a:pPr algn="ctr">
              <a:defRPr/>
            </a:pPr>
            <a:r>
              <a:rPr lang="ru-RU" sz="1867" b="1" dirty="0"/>
              <a:t>реабилитации пострадавших на производстве </a:t>
            </a:r>
          </a:p>
          <a:p>
            <a:pPr algn="ctr">
              <a:defRPr/>
            </a:pPr>
            <a:r>
              <a:rPr lang="ru-RU" sz="1867" b="1" dirty="0"/>
              <a:t>в рамках системы обязательного страхования от </a:t>
            </a:r>
            <a:r>
              <a:rPr lang="ru-RU" sz="2000" b="1" dirty="0"/>
              <a:t>несчастных случаев</a:t>
            </a:r>
          </a:p>
          <a:p>
            <a:pPr algn="ctr">
              <a:defRPr/>
            </a:pP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0A659228-2D41-B0EF-116D-BB87CB46C196}"/>
              </a:ext>
            </a:extLst>
          </p:cNvPr>
          <p:cNvGrpSpPr/>
          <p:nvPr/>
        </p:nvGrpSpPr>
        <p:grpSpPr>
          <a:xfrm>
            <a:off x="263353" y="1520636"/>
            <a:ext cx="11521281" cy="4108224"/>
            <a:chOff x="263351" y="1659469"/>
            <a:chExt cx="11521281" cy="3541808"/>
          </a:xfrm>
        </p:grpSpPr>
        <p:sp>
          <p:nvSpPr>
            <p:cNvPr id="29" name="Прямоугольник: скругленные углы 28">
              <a:extLst>
                <a:ext uri="{FF2B5EF4-FFF2-40B4-BE49-F238E27FC236}">
                  <a16:creationId xmlns:a16="http://schemas.microsoft.com/office/drawing/2014/main" id="{08EFA6F7-1D63-D9DA-E73F-3099EFDC18D3}"/>
                </a:ext>
              </a:extLst>
            </p:cNvPr>
            <p:cNvSpPr/>
            <p:nvPr/>
          </p:nvSpPr>
          <p:spPr>
            <a:xfrm>
              <a:off x="6149048" y="1679634"/>
              <a:ext cx="2801395" cy="449003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1200"/>
                </a:spcBef>
                <a:spcAft>
                  <a:spcPts val="1800"/>
                </a:spcAft>
                <a:tabLst>
                  <a:tab pos="274313" algn="l"/>
                </a:tabLst>
                <a:defRPr/>
              </a:pP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Восстановительная и реконструктивная реабилитации</a:t>
              </a:r>
              <a:endParaRPr lang="ru-RU" sz="1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Прямоугольник: скругленные углы 29">
              <a:extLst>
                <a:ext uri="{FF2B5EF4-FFF2-40B4-BE49-F238E27FC236}">
                  <a16:creationId xmlns:a16="http://schemas.microsoft.com/office/drawing/2014/main" id="{B5D2D244-AC4E-950F-2475-631D414D4B51}"/>
                </a:ext>
              </a:extLst>
            </p:cNvPr>
            <p:cNvSpPr/>
            <p:nvPr/>
          </p:nvSpPr>
          <p:spPr>
            <a:xfrm>
              <a:off x="269908" y="1664842"/>
              <a:ext cx="2714755" cy="449003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333" b="1" dirty="0">
                  <a:latin typeface="Arial" panose="020B0604020202020204" pitchFamily="34" charset="0"/>
                  <a:cs typeface="Arial" panose="020B0604020202020204" pitchFamily="34" charset="0"/>
                </a:rPr>
                <a:t>Социальная реабилитация</a:t>
              </a:r>
            </a:p>
          </p:txBody>
        </p:sp>
        <p:sp>
          <p:nvSpPr>
            <p:cNvPr id="32" name="Прямоугольник: скругленные углы 31">
              <a:extLst>
                <a:ext uri="{FF2B5EF4-FFF2-40B4-BE49-F238E27FC236}">
                  <a16:creationId xmlns:a16="http://schemas.microsoft.com/office/drawing/2014/main" id="{AA263C2F-48E3-7DDE-CA18-E7BAEADEA93B}"/>
                </a:ext>
              </a:extLst>
            </p:cNvPr>
            <p:cNvSpPr/>
            <p:nvPr/>
          </p:nvSpPr>
          <p:spPr>
            <a:xfrm>
              <a:off x="3299506" y="1659469"/>
              <a:ext cx="2714755" cy="449003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333" b="1" dirty="0">
                  <a:latin typeface="Arial" panose="020B0604020202020204" pitchFamily="34" charset="0"/>
                  <a:cs typeface="Arial" panose="020B0604020202020204" pitchFamily="34" charset="0"/>
                </a:rPr>
                <a:t>Профессиональная реабилитация</a:t>
              </a: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E315BD7D-5102-01D0-E324-DC6CBDF577FF}"/>
                </a:ext>
              </a:extLst>
            </p:cNvPr>
            <p:cNvSpPr/>
            <p:nvPr/>
          </p:nvSpPr>
          <p:spPr bwMode="auto">
            <a:xfrm>
              <a:off x="6202099" y="2282759"/>
              <a:ext cx="2695294" cy="2918518"/>
            </a:xfrm>
            <a:prstGeom prst="rect">
              <a:avLst/>
            </a:prstGeom>
            <a:ln w="19050">
              <a:solidFill>
                <a:srgbClr val="3E226F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228594" indent="-228594" fontAlgn="base">
                <a:buFontTx/>
                <a:buChar char="-"/>
              </a:pPr>
              <a:r>
                <a:rPr lang="ru-RU" sz="1333" b="1" dirty="0">
                  <a:solidFill>
                    <a:schemeClr val="accent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абилитация</a:t>
              </a: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и </a:t>
              </a:r>
              <a:r>
                <a:rPr lang="ru-RU" sz="1333" b="1" dirty="0">
                  <a:solidFill>
                    <a:schemeClr val="accent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осстановительная</a:t>
              </a: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терапия;</a:t>
              </a:r>
            </a:p>
            <a:p>
              <a:pPr marL="228594" indent="-228594" fontAlgn="base">
                <a:buFontTx/>
                <a:buChar char="-"/>
              </a:pPr>
              <a:endParaRPr lang="ru-RU" sz="133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594" indent="-228594" fontAlgn="base">
                <a:buFontTx/>
                <a:buChar char="-"/>
              </a:pPr>
              <a:r>
                <a:rPr lang="ru-RU" sz="1333" b="1" dirty="0">
                  <a:solidFill>
                    <a:schemeClr val="accent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конструктивная </a:t>
              </a: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хирургия:</a:t>
              </a:r>
            </a:p>
            <a:p>
              <a:pPr fontAlgn="base"/>
              <a:endParaRPr lang="ru-RU" sz="133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594" indent="-228594" fontAlgn="base">
                <a:buFontTx/>
                <a:buChar char="-"/>
              </a:pPr>
              <a:r>
                <a:rPr lang="ru-RU" sz="1333" b="1" dirty="0">
                  <a:solidFill>
                    <a:schemeClr val="accent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тезно-ортопедическая</a:t>
              </a: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помощь;</a:t>
              </a:r>
            </a:p>
            <a:p>
              <a:pPr marL="228594" indent="-228594" fontAlgn="base">
                <a:buFontTx/>
                <a:buChar char="-"/>
              </a:pPr>
              <a:endParaRPr lang="ru-RU" sz="133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594" indent="-228594" fontAlgn="base">
                <a:buFontTx/>
                <a:buChar char="-"/>
              </a:pP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работка и обучение </a:t>
              </a:r>
              <a:r>
                <a:rPr lang="ru-RU" sz="1333" b="1" dirty="0">
                  <a:solidFill>
                    <a:schemeClr val="accent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граммам</a:t>
              </a:r>
              <a:endParaRPr lang="ru-RU" sz="13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3FBC06F-CC52-FE75-2B17-F83AA9C416AA}"/>
                </a:ext>
              </a:extLst>
            </p:cNvPr>
            <p:cNvSpPr txBox="1"/>
            <p:nvPr/>
          </p:nvSpPr>
          <p:spPr bwMode="auto">
            <a:xfrm>
              <a:off x="263351" y="2291333"/>
              <a:ext cx="2695295" cy="2890594"/>
            </a:xfrm>
            <a:prstGeom prst="rect">
              <a:avLst/>
            </a:prstGeom>
            <a:ln w="19050">
              <a:solidFill>
                <a:srgbClr val="3E226F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38100" tIns="38100" rIns="38100" bIns="38100" spcCol="1270"/>
            <a:lstStyle/>
            <a:p>
              <a:pPr marL="228594" indent="-228594" defTabSz="444489">
                <a:buClr>
                  <a:schemeClr val="tx2"/>
                </a:buClr>
                <a:buFontTx/>
                <a:buChar char="-"/>
                <a:defRPr/>
              </a:pP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слуги по </a:t>
              </a:r>
              <a:r>
                <a:rPr lang="ru-RU" sz="1333" b="1" dirty="0">
                  <a:solidFill>
                    <a:schemeClr val="accent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сихологической поддержке</a:t>
              </a: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помощи и коррекция</a:t>
              </a:r>
              <a:r>
                <a:rPr lang="ru-RU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594" indent="-228594" defTabSz="444489">
                <a:buClr>
                  <a:schemeClr val="tx2"/>
                </a:buClr>
                <a:buFontTx/>
                <a:buChar char="-"/>
                <a:defRPr/>
              </a:pP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дико-психологические консультации</a:t>
              </a:r>
              <a:r>
                <a:rPr lang="ru-RU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</a:p>
            <a:p>
              <a:pPr marL="228594" indent="-228594" defTabSz="444489">
                <a:buClr>
                  <a:schemeClr val="tx2"/>
                </a:buClr>
                <a:buFontTx/>
                <a:buChar char="-"/>
                <a:defRPr/>
              </a:pPr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594" indent="-228594" defTabSz="444489">
                <a:buClr>
                  <a:schemeClr val="tx2"/>
                </a:buClr>
                <a:buFontTx/>
                <a:buChar char="-"/>
                <a:defRPr/>
              </a:pPr>
              <a:r>
                <a:rPr lang="ru-RU" sz="1333" b="1" dirty="0">
                  <a:solidFill>
                    <a:schemeClr val="accent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нсультации </a:t>
              </a: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 вопросам реабилитации и здорового образа жизни</a:t>
              </a:r>
              <a:r>
                <a:rPr lang="ru-RU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554714D-C6F6-8C39-A1DA-CF68222C3F56}"/>
                </a:ext>
              </a:extLst>
            </p:cNvPr>
            <p:cNvSpPr txBox="1"/>
            <p:nvPr/>
          </p:nvSpPr>
          <p:spPr bwMode="auto">
            <a:xfrm>
              <a:off x="3299506" y="2310681"/>
              <a:ext cx="2714755" cy="2890595"/>
            </a:xfrm>
            <a:prstGeom prst="rect">
              <a:avLst/>
            </a:prstGeom>
            <a:ln w="19050">
              <a:solidFill>
                <a:srgbClr val="3E226F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38100" tIns="38100" rIns="38100" bIns="38100" spcCol="1270"/>
            <a:lstStyle/>
            <a:p>
              <a:pPr marL="228594" indent="-228594" defTabSz="444489">
                <a:lnSpc>
                  <a:spcPct val="90000"/>
                </a:lnSpc>
                <a:spcAft>
                  <a:spcPct val="35000"/>
                </a:spcAft>
                <a:buClr>
                  <a:schemeClr val="tx2"/>
                </a:buClr>
                <a:buFont typeface="Arial" panose="020B0604020202020204" pitchFamily="34" charset="0"/>
                <a:buChar char="–"/>
                <a:defRPr/>
              </a:pPr>
              <a:r>
                <a:rPr lang="ru-RU" sz="1333" b="1" dirty="0">
                  <a:solidFill>
                    <a:schemeClr val="accent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одернизация </a:t>
              </a: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чего места для улучшения трудового процессов и </a:t>
              </a:r>
              <a:r>
                <a:rPr lang="ru-RU" sz="1333" b="1" dirty="0">
                  <a:solidFill>
                    <a:schemeClr val="accent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даптации</a:t>
              </a: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работника</a:t>
              </a:r>
              <a:r>
                <a:rPr lang="ru-RU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</a:p>
            <a:p>
              <a:pPr marL="228594" indent="-228594" defTabSz="444489">
                <a:lnSpc>
                  <a:spcPct val="90000"/>
                </a:lnSpc>
                <a:spcAft>
                  <a:spcPct val="35000"/>
                </a:spcAft>
                <a:buClr>
                  <a:schemeClr val="tx2"/>
                </a:buClr>
                <a:buFont typeface="Arial" panose="020B0604020202020204" pitchFamily="34" charset="0"/>
                <a:buChar char="–"/>
                <a:defRPr/>
              </a:pPr>
              <a:endPara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594" indent="-228594" defTabSz="444489">
                <a:lnSpc>
                  <a:spcPct val="90000"/>
                </a:lnSpc>
                <a:spcAft>
                  <a:spcPct val="35000"/>
                </a:spcAft>
                <a:buClr>
                  <a:schemeClr val="tx2"/>
                </a:buClr>
                <a:buFont typeface="Arial" panose="020B0604020202020204" pitchFamily="34" charset="0"/>
                <a:buChar char="–"/>
                <a:defRPr/>
              </a:pPr>
              <a:r>
                <a:rPr lang="ru-RU" sz="1333" b="1" dirty="0">
                  <a:solidFill>
                    <a:schemeClr val="accent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учение </a:t>
              </a: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 курсах по профессиональной переподготовке и </a:t>
              </a:r>
              <a:r>
                <a:rPr lang="ru-RU" sz="1333" b="1" dirty="0">
                  <a:solidFill>
                    <a:schemeClr val="accent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вышения</a:t>
              </a: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валификации</a:t>
              </a:r>
              <a:r>
                <a:rPr lang="ru-RU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</a:p>
            <a:p>
              <a:pPr marL="228594" indent="-228594" defTabSz="444489">
                <a:lnSpc>
                  <a:spcPct val="90000"/>
                </a:lnSpc>
                <a:spcAft>
                  <a:spcPct val="35000"/>
                </a:spcAft>
                <a:buClr>
                  <a:schemeClr val="tx2"/>
                </a:buClr>
                <a:buFont typeface="Arial" panose="020B0604020202020204" pitchFamily="34" charset="0"/>
                <a:buChar char="–"/>
                <a:defRPr/>
              </a:pPr>
              <a:endPara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594" indent="-228594" defTabSz="444489">
                <a:lnSpc>
                  <a:spcPct val="90000"/>
                </a:lnSpc>
                <a:spcAft>
                  <a:spcPct val="35000"/>
                </a:spcAft>
                <a:buClr>
                  <a:schemeClr val="tx2"/>
                </a:buClr>
                <a:buFont typeface="Arial" panose="020B0604020202020204" pitchFamily="34" charset="0"/>
                <a:buChar char="–"/>
                <a:defRPr/>
              </a:pP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еспечение </a:t>
              </a:r>
              <a:r>
                <a:rPr lang="ru-RU" sz="1333" b="1" dirty="0">
                  <a:solidFill>
                    <a:schemeClr val="accent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ечебно-профилактического питания</a:t>
              </a:r>
              <a:r>
                <a:rPr lang="ru-RU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</a:p>
            <a:p>
              <a:pPr marL="228594" indent="-228594" defTabSz="444489">
                <a:lnSpc>
                  <a:spcPct val="90000"/>
                </a:lnSpc>
                <a:spcAft>
                  <a:spcPct val="35000"/>
                </a:spcAft>
                <a:buClr>
                  <a:schemeClr val="tx2"/>
                </a:buClr>
                <a:buFont typeface="Arial" panose="020B0604020202020204" pitchFamily="34" charset="0"/>
                <a:buChar char="–"/>
                <a:defRPr/>
              </a:pPr>
              <a:endPara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594" indent="-228594" defTabSz="444489">
                <a:lnSpc>
                  <a:spcPct val="90000"/>
                </a:lnSpc>
                <a:spcAft>
                  <a:spcPct val="35000"/>
                </a:spcAft>
                <a:buClr>
                  <a:schemeClr val="tx2"/>
                </a:buClr>
                <a:buFont typeface="Arial" panose="020B0604020202020204" pitchFamily="34" charset="0"/>
                <a:buChar char="–"/>
                <a:defRPr/>
              </a:pPr>
              <a:r>
                <a:rPr lang="ru-RU" sz="1333" b="1" dirty="0" err="1">
                  <a:solidFill>
                    <a:schemeClr val="accent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ртокорекция</a:t>
              </a: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использование бандажей, ортезов, корсетов) </a:t>
              </a:r>
              <a:endParaRPr lang="x-none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7F5E455-E93C-E602-8D09-B4687121BA82}"/>
                </a:ext>
              </a:extLst>
            </p:cNvPr>
            <p:cNvSpPr txBox="1"/>
            <p:nvPr/>
          </p:nvSpPr>
          <p:spPr bwMode="auto">
            <a:xfrm>
              <a:off x="9069877" y="2291333"/>
              <a:ext cx="2714755" cy="2909944"/>
            </a:xfrm>
            <a:prstGeom prst="rect">
              <a:avLst/>
            </a:prstGeom>
            <a:ln w="19050">
              <a:solidFill>
                <a:srgbClr val="3E226F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38100" tIns="38100" rIns="38100" bIns="38100" spcCol="1270"/>
            <a:lstStyle/>
            <a:p>
              <a:pPr marL="228594" indent="-228594" fontAlgn="base">
                <a:buFontTx/>
                <a:buChar char="-"/>
              </a:pP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нические и/или инструментальные </a:t>
              </a:r>
              <a:r>
                <a:rPr lang="ru-RU" sz="1333" b="1" dirty="0">
                  <a:solidFill>
                    <a:schemeClr val="accent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смотры, диагностика</a:t>
              </a: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лечение;</a:t>
              </a:r>
            </a:p>
            <a:p>
              <a:pPr marL="228594" indent="-228594" fontAlgn="base">
                <a:buFontTx/>
                <a:buChar char="-"/>
              </a:pPr>
              <a:endParaRPr lang="ru-RU" sz="133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28594" indent="-228594" fontAlgn="base">
                <a:buFontTx/>
                <a:buChar char="-"/>
              </a:pP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обретение </a:t>
              </a:r>
              <a:r>
                <a:rPr lang="ru-RU" sz="1333" b="1" dirty="0">
                  <a:solidFill>
                    <a:schemeClr val="accent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истем коммуникации</a:t>
              </a: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и </a:t>
              </a:r>
              <a:r>
                <a:rPr lang="ru-RU" sz="1333" b="1" dirty="0">
                  <a:solidFill>
                    <a:schemeClr val="accent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способлений</a:t>
              </a:r>
              <a:r>
                <a:rPr lang="ru-RU" sz="133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для лиц с ограничениями в вербальном общении.</a:t>
              </a:r>
            </a:p>
          </p:txBody>
        </p:sp>
        <p:sp>
          <p:nvSpPr>
            <p:cNvPr id="9" name="Прямоугольник: скругленные углы 8">
              <a:extLst>
                <a:ext uri="{FF2B5EF4-FFF2-40B4-BE49-F238E27FC236}">
                  <a16:creationId xmlns:a16="http://schemas.microsoft.com/office/drawing/2014/main" id="{E13EF3EC-AE2D-746C-4CDD-92A7E3C74B1A}"/>
                </a:ext>
              </a:extLst>
            </p:cNvPr>
            <p:cNvSpPr/>
            <p:nvPr/>
          </p:nvSpPr>
          <p:spPr>
            <a:xfrm>
              <a:off x="9069877" y="1678946"/>
              <a:ext cx="2714755" cy="449003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Логопедическая и языковая реабилитации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888D2024-043C-9BCC-8729-F75C73120185}"/>
              </a:ext>
            </a:extLst>
          </p:cNvPr>
          <p:cNvSpPr txBox="1"/>
          <p:nvPr/>
        </p:nvSpPr>
        <p:spPr>
          <a:xfrm>
            <a:off x="11862892" y="6516120"/>
            <a:ext cx="407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ru-KZ" sz="1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7FEC47F-ECF9-CDE9-5821-D80A5421A5F4}"/>
              </a:ext>
            </a:extLst>
          </p:cNvPr>
          <p:cNvSpPr/>
          <p:nvPr/>
        </p:nvSpPr>
        <p:spPr>
          <a:xfrm>
            <a:off x="263353" y="5733257"/>
            <a:ext cx="11599540" cy="1055857"/>
          </a:xfrm>
          <a:prstGeom prst="rect">
            <a:avLst/>
          </a:prstGeom>
          <a:noFill/>
          <a:ln w="12700">
            <a:solidFill>
              <a:srgbClr val="3E226F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just">
              <a:defRPr/>
            </a:pPr>
            <a:r>
              <a:rPr lang="ru-RU" altLang="ru-RU" sz="1100" i="1" dirty="0">
                <a:latin typeface="Arial" panose="020B0604020202020204" pitchFamily="34" charset="0"/>
                <a:cs typeface="Arial" panose="020B0604020202020204" pitchFamily="34" charset="0"/>
              </a:rPr>
              <a:t>Финансирование </a:t>
            </a:r>
            <a:r>
              <a:rPr lang="ru-RU" altLang="ru-RU" sz="1100" b="1" i="1" dirty="0">
                <a:latin typeface="Arial" panose="020B0604020202020204" pitchFamily="34" charset="0"/>
                <a:cs typeface="Arial" panose="020B0604020202020204" pitchFamily="34" charset="0"/>
              </a:rPr>
              <a:t>программ реабилитации</a:t>
            </a:r>
            <a:r>
              <a:rPr lang="ru-RU" altLang="ru-RU" sz="1100" i="1" dirty="0">
                <a:latin typeface="Arial" panose="020B0604020202020204" pitchFamily="34" charset="0"/>
                <a:cs typeface="Arial" panose="020B0604020202020204" pitchFamily="34" charset="0"/>
              </a:rPr>
              <a:t>  в большей части осуществляется за счет средств </a:t>
            </a:r>
            <a:r>
              <a:rPr lang="ru-RU" altLang="ru-RU" sz="1100" b="1" i="1" dirty="0">
                <a:solidFill>
                  <a:srgbClr val="3E2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а </a:t>
            </a:r>
            <a:r>
              <a:rPr lang="ru-RU" altLang="ru-RU" sz="1100" i="1" dirty="0">
                <a:solidFill>
                  <a:srgbClr val="3E2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altLang="ru-RU" sz="1100" i="1" dirty="0">
                <a:latin typeface="Arial" panose="020B0604020202020204" pitchFamily="34" charset="0"/>
                <a:cs typeface="Arial" panose="020B0604020202020204" pitchFamily="34" charset="0"/>
              </a:rPr>
              <a:t>в рамках гарантированного объема медицинской помощи, обязательного социального медицинского страхования) и работодателя. Участие компаний по страхованию жизни возможно в соотв. ст.19 ЗРК ОСНС, в виде в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</a:rPr>
              <a:t>озмещения дополнительных расходов, за исключением медпомощи, предоставляемой в рамках ГОБМП и ОСМС, совокупный размер возмещения зависит от степени утраты профессиональной трудоспособности: 1) 30-59% СУПТ – 500 месячных расчетных показателей; 2) 60-89% СУПТ– 750 месячных расчетных показателей; 3) 90-100% СУПТ – 1 000 месячных расчетных показателей, а также возмещение понесенных расходов на оплату одного санаторно-курортного лечения (до 100 месячных расчетных показателей), на основании документов. </a:t>
            </a:r>
          </a:p>
        </p:txBody>
      </p:sp>
      <p:pic>
        <p:nvPicPr>
          <p:cNvPr id="4" name="Рисунок 3" descr="Изображение выглядит как Графика, графический дизайн, Шрифт, логотип&#10;&#10;Содержимое, созданное искусственным интеллектом, может быть неверным.">
            <a:extLst>
              <a:ext uri="{FF2B5EF4-FFF2-40B4-BE49-F238E27FC236}">
                <a16:creationId xmlns:a16="http://schemas.microsoft.com/office/drawing/2014/main" id="{4A6A7CF5-6257-544E-2576-0DCE47A9DA5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339" y="76420"/>
            <a:ext cx="1310909" cy="219577"/>
          </a:xfrm>
          <a:prstGeom prst="rect">
            <a:avLst/>
          </a:prstGeom>
          <a:ln>
            <a:noFill/>
          </a:ln>
        </p:spPr>
      </p:pic>
      <p:pic>
        <p:nvPicPr>
          <p:cNvPr id="5" name="Picture 11" descr="gerb">
            <a:extLst>
              <a:ext uri="{FF2B5EF4-FFF2-40B4-BE49-F238E27FC236}">
                <a16:creationId xmlns:a16="http://schemas.microsoft.com/office/drawing/2014/main" id="{2A4C0BF0-0CE7-3FE0-C630-1DD90248BD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6024" y="71288"/>
            <a:ext cx="49244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BC0DC40-D9A1-4372-AF40-417AF598A014}"/>
              </a:ext>
            </a:extLst>
          </p:cNvPr>
          <p:cNvSpPr txBox="1"/>
          <p:nvPr/>
        </p:nvSpPr>
        <p:spPr>
          <a:xfrm>
            <a:off x="1838325" y="18197"/>
            <a:ext cx="9899842" cy="52322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all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спубликанский научно-исследовательский институт по охране труда Министерства труда и социальной защиты населения Республики Казахстан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2614246"/>
            <a:ext cx="12192000" cy="1594339"/>
          </a:xfrm>
          <a:prstGeom prst="rect">
            <a:avLst/>
          </a:prstGeom>
          <a:solidFill>
            <a:srgbClr val="E7F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k-KZ" sz="2000" b="0" i="0" u="none" strike="noStrike" kern="1200" cap="none" spc="0" normalizeH="0" baseline="0" noProof="0" dirty="0">
              <a:ln>
                <a:noFill/>
              </a:ln>
              <a:solidFill>
                <a:srgbClr val="293A5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</a:rPr>
              <a:t>Условия труда и профессиональные риски: классификация, категории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</a:rPr>
              <a:t>и критерии группировки в рамках перехода к «зеленой экономике»</a:t>
            </a:r>
            <a:endParaRPr kumimoji="0" lang="en-US" altLang="ru-RU" sz="24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</a:endParaRPr>
          </a:p>
          <a:p>
            <a:pPr lvl="0" algn="ctr">
              <a:defRPr/>
            </a:pPr>
            <a:r>
              <a:rPr kumimoji="0" lang="ru-RU" altLang="ru-RU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</a:rPr>
              <a:t>Результаты НИР за </a:t>
            </a:r>
            <a:r>
              <a:rPr kumimoji="0" lang="en-US" altLang="ru-RU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</a:rPr>
              <a:t>III</a:t>
            </a:r>
            <a:r>
              <a:rPr kumimoji="0" lang="en-US" altLang="ru-RU" b="1" i="0" u="none" strike="noStrike" kern="1200" cap="none" spc="0" normalizeH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</a:rPr>
              <a:t> </a:t>
            </a:r>
            <a:r>
              <a:rPr kumimoji="0" lang="ru-RU" altLang="ru-RU" b="1" i="0" u="none" strike="noStrike" kern="1200" cap="none" spc="0" normalizeH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</a:rPr>
              <a:t>квартал</a:t>
            </a:r>
            <a:r>
              <a:rPr kumimoji="0" lang="ru-RU" altLang="ru-RU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</a:rPr>
              <a:t> 2025 года</a:t>
            </a:r>
            <a:endParaRPr kumimoji="0" lang="ru-RU" altLang="ru-RU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518444" y="2124000"/>
            <a:ext cx="51551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Open Sans Light"/>
                <a:cs typeface="Arial" panose="020B0604020202020204" pitchFamily="34" charset="0"/>
              </a:rPr>
              <a:t>НАУЧНО-ТЕХНИЧЕСКАЯ ПРОГРАММА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98584" y="5380892"/>
            <a:ext cx="714521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Open Sans Light"/>
                <a:cs typeface="Arial" panose="020B0604020202020204" pitchFamily="34" charset="0"/>
              </a:rPr>
              <a:t>Руководитель НТП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Open Sans Light"/>
                <a:cs typeface="Arial" panose="020B0604020202020204" pitchFamily="34" charset="0"/>
              </a:rPr>
              <a:t>кандидат </a:t>
            </a: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Open Sans Light"/>
                <a:cs typeface="Arial" panose="020B0604020202020204" pitchFamily="34" charset="0"/>
              </a:rPr>
              <a:t>юридических наук, ассоциированный профессор </a:t>
            </a:r>
            <a:r>
              <a:rPr kumimoji="0" lang="ru-RU" sz="16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Open Sans Light"/>
                <a:cs typeface="Arial" panose="020B0604020202020204" pitchFamily="34" charset="0"/>
              </a:rPr>
              <a:t>Б</a:t>
            </a:r>
            <a:r>
              <a:rPr lang="ru-RU" sz="16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Open Sans Light"/>
                <a:cs typeface="Arial" panose="020B0604020202020204" pitchFamily="34" charset="0"/>
              </a:rPr>
              <a:t>екмагамбетов</a:t>
            </a:r>
            <a:r>
              <a:rPr kumimoji="0" lang="ru-RU" sz="16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Open Sans Light"/>
                <a:cs typeface="Arial" panose="020B0604020202020204" pitchFamily="34" charset="0"/>
              </a:rPr>
              <a:t> А.Б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632C203-8BD4-4ED4-8FBF-2D67C9451B4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5" y="18197"/>
            <a:ext cx="1771650" cy="38142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901291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D93A90-8B9B-6742-3735-3A3ADEF07C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>
            <a:extLst>
              <a:ext uri="{FF2B5EF4-FFF2-40B4-BE49-F238E27FC236}">
                <a16:creationId xmlns:a16="http://schemas.microsoft.com/office/drawing/2014/main" id="{09395C0A-8D29-2B9E-7043-08F0FC3BA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34" y="133767"/>
            <a:ext cx="1149667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49263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1F5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Особые условия труда </a:t>
            </a:r>
          </a:p>
          <a:p>
            <a:pPr marL="0" marR="0" lvl="0" indent="449263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1F5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Стандартная оценка профессионального риска (ОПР)</a:t>
            </a: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srgbClr val="001F5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" name="TextBox 33"/>
          <p:cNvSpPr txBox="1">
            <a:spLocks noChangeArrowheads="1"/>
          </p:cNvSpPr>
          <p:nvPr/>
        </p:nvSpPr>
        <p:spPr bwMode="auto">
          <a:xfrm>
            <a:off x="11401425" y="-9003"/>
            <a:ext cx="790575" cy="369332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</a:p>
        </p:txBody>
      </p:sp>
      <p:pic>
        <p:nvPicPr>
          <p:cNvPr id="6" name="Google Shape;196;p28">
            <a:extLst>
              <a:ext uri="{FF2B5EF4-FFF2-40B4-BE49-F238E27FC236}">
                <a16:creationId xmlns:a16="http://schemas.microsoft.com/office/drawing/2014/main" id="{48A3DA6A-D227-FCAB-CE32-A1FA31559F5E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6534" y="133767"/>
            <a:ext cx="963167" cy="160533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FCB46D7-0468-02E8-D14F-1AA33E325F23}"/>
              </a:ext>
            </a:extLst>
          </p:cNvPr>
          <p:cNvSpPr/>
          <p:nvPr/>
        </p:nvSpPr>
        <p:spPr bwMode="auto">
          <a:xfrm>
            <a:off x="1686202" y="2033369"/>
            <a:ext cx="1260475" cy="320675"/>
          </a:xfrm>
          <a:prstGeom prst="rect">
            <a:avLst/>
          </a:prstGeom>
          <a:solidFill>
            <a:srgbClr val="0049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.Подготовка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ведения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ОПР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FE4E72C4-A926-81FF-3AF8-439BCB20E7BD}"/>
              </a:ext>
            </a:extLst>
          </p:cNvPr>
          <p:cNvSpPr/>
          <p:nvPr/>
        </p:nvSpPr>
        <p:spPr bwMode="auto">
          <a:xfrm>
            <a:off x="1792058" y="2584672"/>
            <a:ext cx="1047750" cy="288925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b="1" dirty="0">
                <a:solidFill>
                  <a:srgbClr val="1D3E76"/>
                </a:solidFill>
                <a:latin typeface="Century Gothic" panose="020B0502020202020204" pitchFamily="34" charset="0"/>
              </a:rPr>
              <a:t>Э</a:t>
            </a:r>
            <a:r>
              <a:rPr kumimoji="0" lang="ru-RU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кспертная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групп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1CB2608-91E5-EB58-98F2-B4721DA235D8}"/>
              </a:ext>
            </a:extLst>
          </p:cNvPr>
          <p:cNvSpPr/>
          <p:nvPr/>
        </p:nvSpPr>
        <p:spPr bwMode="auto">
          <a:xfrm>
            <a:off x="1696183" y="2933190"/>
            <a:ext cx="1271588" cy="327025"/>
          </a:xfrm>
          <a:prstGeom prst="rect">
            <a:avLst/>
          </a:prstGeom>
          <a:solidFill>
            <a:srgbClr val="0049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.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Идентификация ПР</a:t>
            </a:r>
          </a:p>
        </p:txBody>
      </p:sp>
      <p:cxnSp>
        <p:nvCxnSpPr>
          <p:cNvPr id="11" name="Прямая со стрелкой 39">
            <a:extLst>
              <a:ext uri="{FF2B5EF4-FFF2-40B4-BE49-F238E27FC236}">
                <a16:creationId xmlns:a16="http://schemas.microsoft.com/office/drawing/2014/main" id="{755FCC45-7F22-FC33-D404-C125BCCBB1FE}"/>
              </a:ext>
            </a:extLst>
          </p:cNvPr>
          <p:cNvCxnSpPr>
            <a:cxnSpLocks/>
            <a:endCxn id="8" idx="1"/>
          </p:cNvCxnSpPr>
          <p:nvPr/>
        </p:nvCxnSpPr>
        <p:spPr bwMode="auto">
          <a:xfrm>
            <a:off x="965353" y="1790481"/>
            <a:ext cx="720849" cy="403226"/>
          </a:xfrm>
          <a:prstGeom prst="bentConnector3">
            <a:avLst>
              <a:gd name="adj1" fmla="val -2059"/>
            </a:avLst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DDD2CB9-9188-596E-54ED-C77162CDCFF8}"/>
              </a:ext>
            </a:extLst>
          </p:cNvPr>
          <p:cNvSpPr/>
          <p:nvPr/>
        </p:nvSpPr>
        <p:spPr bwMode="auto">
          <a:xfrm>
            <a:off x="2893157" y="2570770"/>
            <a:ext cx="1047750" cy="288925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b="1" dirty="0">
                <a:solidFill>
                  <a:srgbClr val="1D3E76"/>
                </a:solidFill>
              </a:rPr>
              <a:t>О</a:t>
            </a:r>
            <a:r>
              <a:rPr kumimoji="0" lang="ru-RU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ea typeface="+mn-ea"/>
                <a:cs typeface="+mn-cs"/>
              </a:rPr>
              <a:t>бъекты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ea typeface="+mn-ea"/>
                <a:cs typeface="+mn-cs"/>
              </a:rPr>
              <a:t> оценки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47463965-1C53-51B7-DB33-CBBA6190874A}"/>
              </a:ext>
            </a:extLst>
          </p:cNvPr>
          <p:cNvSpPr/>
          <p:nvPr/>
        </p:nvSpPr>
        <p:spPr bwMode="auto">
          <a:xfrm>
            <a:off x="659546" y="2587619"/>
            <a:ext cx="1047750" cy="288925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b="1" dirty="0">
                <a:solidFill>
                  <a:srgbClr val="1D3E76"/>
                </a:solidFill>
              </a:rPr>
              <a:t>Р</a:t>
            </a:r>
            <a:r>
              <a:rPr kumimoji="0" lang="ru-RU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ea typeface="+mn-ea"/>
                <a:cs typeface="+mn-cs"/>
              </a:rPr>
              <a:t>есурсы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ea typeface="+mn-ea"/>
                <a:cs typeface="+mn-cs"/>
              </a:rPr>
              <a:t> для ОПР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651B324-E999-5A68-153E-D73810FFF048}"/>
              </a:ext>
            </a:extLst>
          </p:cNvPr>
          <p:cNvSpPr/>
          <p:nvPr/>
        </p:nvSpPr>
        <p:spPr bwMode="auto">
          <a:xfrm>
            <a:off x="732335" y="3336414"/>
            <a:ext cx="1047750" cy="393315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бор и обработка данных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81E76DA-01F5-EBF0-C036-59CF559C20FD}"/>
              </a:ext>
            </a:extLst>
          </p:cNvPr>
          <p:cNvSpPr/>
          <p:nvPr/>
        </p:nvSpPr>
        <p:spPr bwMode="auto">
          <a:xfrm>
            <a:off x="1842235" y="3343667"/>
            <a:ext cx="1081460" cy="386062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ea typeface="+mn-ea"/>
                <a:cs typeface="+mn-cs"/>
              </a:rPr>
              <a:t>Изучение производственной среды и трудового процесса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87C8606E-9FE0-5218-C4E0-7E893AEBD313}"/>
              </a:ext>
            </a:extLst>
          </p:cNvPr>
          <p:cNvSpPr/>
          <p:nvPr/>
        </p:nvSpPr>
        <p:spPr bwMode="auto">
          <a:xfrm>
            <a:off x="3056178" y="3318625"/>
            <a:ext cx="1114177" cy="393314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ea typeface="+mn-ea"/>
                <a:cs typeface="+mn-cs"/>
              </a:rPr>
              <a:t>Перечень </a:t>
            </a:r>
            <a:r>
              <a:rPr kumimoji="0" lang="ru-RU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ea typeface="+mn-ea"/>
                <a:cs typeface="+mn-cs"/>
              </a:rPr>
              <a:t>производствен-ных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ea typeface="+mn-ea"/>
                <a:cs typeface="+mn-cs"/>
              </a:rPr>
              <a:t> факторов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7FAD7A34-1A05-E5F9-95FF-2DD443817369}"/>
              </a:ext>
            </a:extLst>
          </p:cNvPr>
          <p:cNvSpPr/>
          <p:nvPr/>
        </p:nvSpPr>
        <p:spPr bwMode="auto">
          <a:xfrm>
            <a:off x="1696183" y="3843303"/>
            <a:ext cx="1271588" cy="327025"/>
          </a:xfrm>
          <a:prstGeom prst="rect">
            <a:avLst/>
          </a:prstGeom>
          <a:solidFill>
            <a:srgbClr val="0049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3.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Оценка ПР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41F5B02-2B62-72DE-3B2E-9240B7051C4B}"/>
              </a:ext>
            </a:extLst>
          </p:cNvPr>
          <p:cNvSpPr txBox="1"/>
          <p:nvPr/>
        </p:nvSpPr>
        <p:spPr>
          <a:xfrm>
            <a:off x="134212" y="1435443"/>
            <a:ext cx="26825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ехнические требования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Листы ДОР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FF56AAF-C3E7-311E-AD6E-938C0B7FE29D}"/>
              </a:ext>
            </a:extLst>
          </p:cNvPr>
          <p:cNvSpPr/>
          <p:nvPr/>
        </p:nvSpPr>
        <p:spPr bwMode="auto">
          <a:xfrm>
            <a:off x="1256210" y="4291368"/>
            <a:ext cx="1047750" cy="410534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Оценка ИПР </a:t>
            </a:r>
            <a:r>
              <a:rPr kumimoji="0" lang="ru-RU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ea typeface="+mn-ea"/>
                <a:cs typeface="+mn-cs"/>
              </a:rPr>
              <a:t>ПОиПЗ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1D3E76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2FA0E164-B02C-B23A-904A-8627D84CC83D}"/>
              </a:ext>
            </a:extLst>
          </p:cNvPr>
          <p:cNvSpPr/>
          <p:nvPr/>
        </p:nvSpPr>
        <p:spPr bwMode="auto">
          <a:xfrm>
            <a:off x="2402216" y="4274666"/>
            <a:ext cx="1047750" cy="418875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Оценка</a:t>
            </a: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ИПР </a:t>
            </a: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ea typeface="+mn-ea"/>
                <a:cs typeface="+mn-cs"/>
              </a:rPr>
              <a:t>травматизма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C6EEAD45-60D1-4E8C-55D9-26A62E3DFD47}"/>
              </a:ext>
            </a:extLst>
          </p:cNvPr>
          <p:cNvSpPr/>
          <p:nvPr/>
        </p:nvSpPr>
        <p:spPr bwMode="auto">
          <a:xfrm>
            <a:off x="1618397" y="5396861"/>
            <a:ext cx="1349374" cy="327025"/>
          </a:xfrm>
          <a:prstGeom prst="rect">
            <a:avLst/>
          </a:prstGeom>
          <a:solidFill>
            <a:srgbClr val="0049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4.План мероприятий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59305660-D753-649D-EBFA-FB51619C6D3B}"/>
              </a:ext>
            </a:extLst>
          </p:cNvPr>
          <p:cNvSpPr/>
          <p:nvPr/>
        </p:nvSpPr>
        <p:spPr bwMode="auto">
          <a:xfrm>
            <a:off x="134212" y="5827867"/>
            <a:ext cx="1187715" cy="461665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Инженерные меры,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включая</a:t>
            </a: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цифровые советчики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2168D391-F3AD-B00E-DADA-81AF3B6F945C}"/>
              </a:ext>
            </a:extLst>
          </p:cNvPr>
          <p:cNvSpPr/>
          <p:nvPr/>
        </p:nvSpPr>
        <p:spPr bwMode="auto">
          <a:xfrm>
            <a:off x="1418427" y="5845012"/>
            <a:ext cx="1187715" cy="436645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Административ-ные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меры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F14D6761-6853-FE13-A9BE-744096F41C35}"/>
              </a:ext>
            </a:extLst>
          </p:cNvPr>
          <p:cNvSpPr/>
          <p:nvPr/>
        </p:nvSpPr>
        <p:spPr bwMode="auto">
          <a:xfrm>
            <a:off x="2724411" y="5818512"/>
            <a:ext cx="1111566" cy="486919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Лечебно-профилактическ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е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2907816A-A14D-89A0-F80A-8CD6973D6D40}"/>
              </a:ext>
            </a:extLst>
          </p:cNvPr>
          <p:cNvSpPr/>
          <p:nvPr/>
        </p:nvSpPr>
        <p:spPr bwMode="auto">
          <a:xfrm>
            <a:off x="4046777" y="5807244"/>
            <a:ext cx="1188414" cy="474413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ea typeface="+mn-ea"/>
                <a:cs typeface="+mn-cs"/>
              </a:rPr>
              <a:t>Реабилитационные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5E3B7FC2-1CD9-EE60-5022-49FE5FB91D35}"/>
              </a:ext>
            </a:extLst>
          </p:cNvPr>
          <p:cNvSpPr/>
          <p:nvPr/>
        </p:nvSpPr>
        <p:spPr bwMode="auto">
          <a:xfrm>
            <a:off x="8387342" y="1907664"/>
            <a:ext cx="1814171" cy="327025"/>
          </a:xfrm>
          <a:prstGeom prst="rect">
            <a:avLst/>
          </a:prstGeom>
          <a:solidFill>
            <a:srgbClr val="0049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Государственный контроль и мониторинг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749CF6B-27E2-E72C-9DAA-4DCC562A1D16}"/>
              </a:ext>
            </a:extLst>
          </p:cNvPr>
          <p:cNvSpPr txBox="1"/>
          <p:nvPr/>
        </p:nvSpPr>
        <p:spPr>
          <a:xfrm>
            <a:off x="805150" y="1050756"/>
            <a:ext cx="38219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Оценка индивидуального риска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B41FEA8-009A-5000-76D8-BADD32A8CBBE}"/>
              </a:ext>
            </a:extLst>
          </p:cNvPr>
          <p:cNvSpPr txBox="1"/>
          <p:nvPr/>
        </p:nvSpPr>
        <p:spPr>
          <a:xfrm>
            <a:off x="7296160" y="1036005"/>
            <a:ext cx="38219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Оценка интегрального риска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C1D37AB-2620-96B3-9D0E-D48219E4EC7E}"/>
              </a:ext>
            </a:extLst>
          </p:cNvPr>
          <p:cNvSpPr txBox="1"/>
          <p:nvPr/>
        </p:nvSpPr>
        <p:spPr>
          <a:xfrm>
            <a:off x="3276671" y="1526240"/>
            <a:ext cx="2811996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аботы повышенной опасности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аботы на ОПО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аботы на открытом воздухе</a:t>
            </a:r>
          </a:p>
        </p:txBody>
      </p:sp>
      <p:cxnSp>
        <p:nvCxnSpPr>
          <p:cNvPr id="30" name="Прямая со стрелкой 39">
            <a:extLst>
              <a:ext uri="{FF2B5EF4-FFF2-40B4-BE49-F238E27FC236}">
                <a16:creationId xmlns:a16="http://schemas.microsoft.com/office/drawing/2014/main" id="{DE593AB5-B9DB-D086-2524-40BF1B07EF88}"/>
              </a:ext>
            </a:extLst>
          </p:cNvPr>
          <p:cNvCxnSpPr>
            <a:cxnSpLocks/>
            <a:stCxn id="29" idx="2"/>
            <a:endCxn id="12" idx="3"/>
          </p:cNvCxnSpPr>
          <p:nvPr/>
        </p:nvCxnSpPr>
        <p:spPr bwMode="auto">
          <a:xfrm rot="5400000">
            <a:off x="3971207" y="2003771"/>
            <a:ext cx="681162" cy="741762"/>
          </a:xfrm>
          <a:prstGeom prst="bentConnector2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07D3A28A-224F-BA9F-898A-57D44A0D6D95}"/>
              </a:ext>
            </a:extLst>
          </p:cNvPr>
          <p:cNvSpPr txBox="1"/>
          <p:nvPr/>
        </p:nvSpPr>
        <p:spPr>
          <a:xfrm>
            <a:off x="4046777" y="2946337"/>
            <a:ext cx="11141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Цифровой КВОФ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3EE2B85-B403-2FE8-F5B4-8AFA28DE75BC}"/>
              </a:ext>
            </a:extLst>
          </p:cNvPr>
          <p:cNvSpPr txBox="1"/>
          <p:nvPr/>
        </p:nvSpPr>
        <p:spPr>
          <a:xfrm>
            <a:off x="197770" y="2224442"/>
            <a:ext cx="172510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отребность в обучении ОПР</a:t>
            </a:r>
          </a:p>
        </p:txBody>
      </p:sp>
      <p:cxnSp>
        <p:nvCxnSpPr>
          <p:cNvPr id="33" name="Прямая со стрелкой 39">
            <a:extLst>
              <a:ext uri="{FF2B5EF4-FFF2-40B4-BE49-F238E27FC236}">
                <a16:creationId xmlns:a16="http://schemas.microsoft.com/office/drawing/2014/main" id="{FC3DFF72-DB02-85EF-676E-0919DE6FAE2C}"/>
              </a:ext>
            </a:extLst>
          </p:cNvPr>
          <p:cNvCxnSpPr>
            <a:cxnSpLocks/>
          </p:cNvCxnSpPr>
          <p:nvPr/>
        </p:nvCxnSpPr>
        <p:spPr bwMode="auto">
          <a:xfrm>
            <a:off x="317010" y="2452262"/>
            <a:ext cx="260862" cy="214175"/>
          </a:xfrm>
          <a:prstGeom prst="bentConnector3">
            <a:avLst>
              <a:gd name="adj1" fmla="val -6537"/>
            </a:avLst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Прямая со стрелкой 39">
            <a:extLst>
              <a:ext uri="{FF2B5EF4-FFF2-40B4-BE49-F238E27FC236}">
                <a16:creationId xmlns:a16="http://schemas.microsoft.com/office/drawing/2014/main" id="{EAA02636-A8A9-3A6E-297A-CAEC92544EC5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4337170" y="3096036"/>
            <a:ext cx="205445" cy="615247"/>
          </a:xfrm>
          <a:prstGeom prst="bentConnector2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5D15947C-BD1F-47EA-9453-6D6B5185FCAE}"/>
              </a:ext>
            </a:extLst>
          </p:cNvPr>
          <p:cNvSpPr txBox="1"/>
          <p:nvPr/>
        </p:nvSpPr>
        <p:spPr>
          <a:xfrm>
            <a:off x="188768" y="2889385"/>
            <a:ext cx="172510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Цифровой реестр травм и профзаболеваний</a:t>
            </a:r>
          </a:p>
        </p:txBody>
      </p:sp>
      <p:cxnSp>
        <p:nvCxnSpPr>
          <p:cNvPr id="37" name="Прямая со стрелкой 39">
            <a:extLst>
              <a:ext uri="{FF2B5EF4-FFF2-40B4-BE49-F238E27FC236}">
                <a16:creationId xmlns:a16="http://schemas.microsoft.com/office/drawing/2014/main" id="{25554271-EE0A-BAFA-7BDB-2007923C9B13}"/>
              </a:ext>
            </a:extLst>
          </p:cNvPr>
          <p:cNvCxnSpPr>
            <a:cxnSpLocks/>
          </p:cNvCxnSpPr>
          <p:nvPr/>
        </p:nvCxnSpPr>
        <p:spPr bwMode="auto">
          <a:xfrm>
            <a:off x="335396" y="3400233"/>
            <a:ext cx="388087" cy="148821"/>
          </a:xfrm>
          <a:prstGeom prst="bentConnector3">
            <a:avLst>
              <a:gd name="adj1" fmla="val -670"/>
            </a:avLst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AFF9DCCB-B0C1-0466-8EEA-81CF819570E9}"/>
              </a:ext>
            </a:extLst>
          </p:cNvPr>
          <p:cNvSpPr txBox="1"/>
          <p:nvPr/>
        </p:nvSpPr>
        <p:spPr>
          <a:xfrm>
            <a:off x="1275484" y="4833634"/>
            <a:ext cx="227658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редневзвешенная оценк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                 ИПР ПТ  и   ИПР </a:t>
            </a:r>
            <a:r>
              <a:rPr kumimoji="0" lang="ru-RU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ОиПТ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1D3E76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cxnSp>
        <p:nvCxnSpPr>
          <p:cNvPr id="41" name="Прямая со стрелкой 39">
            <a:extLst>
              <a:ext uri="{FF2B5EF4-FFF2-40B4-BE49-F238E27FC236}">
                <a16:creationId xmlns:a16="http://schemas.microsoft.com/office/drawing/2014/main" id="{124E252A-BF1E-5AA0-CF28-F7FE77EA89F0}"/>
              </a:ext>
            </a:extLst>
          </p:cNvPr>
          <p:cNvCxnSpPr>
            <a:cxnSpLocks/>
          </p:cNvCxnSpPr>
          <p:nvPr/>
        </p:nvCxnSpPr>
        <p:spPr bwMode="auto">
          <a:xfrm flipV="1">
            <a:off x="3736667" y="2702409"/>
            <a:ext cx="2990710" cy="2591793"/>
          </a:xfrm>
          <a:prstGeom prst="bentConnector3">
            <a:avLst>
              <a:gd name="adj1" fmla="val 84434"/>
            </a:avLst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6E44039F-2E57-41D4-A130-8A3D0878EE60}"/>
              </a:ext>
            </a:extLst>
          </p:cNvPr>
          <p:cNvSpPr/>
          <p:nvPr/>
        </p:nvSpPr>
        <p:spPr bwMode="auto">
          <a:xfrm>
            <a:off x="10201513" y="2566663"/>
            <a:ext cx="1524783" cy="402370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ea typeface="+mn-ea"/>
                <a:cs typeface="+mn-cs"/>
              </a:rPr>
              <a:t>Бенчмаркинг  травматизма и профзаболеваний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45F5065E-DBB5-5956-B929-0AF53EABD3F6}"/>
              </a:ext>
            </a:extLst>
          </p:cNvPr>
          <p:cNvSpPr/>
          <p:nvPr/>
        </p:nvSpPr>
        <p:spPr bwMode="auto">
          <a:xfrm>
            <a:off x="8532035" y="2559349"/>
            <a:ext cx="1524783" cy="402370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ea typeface="+mn-ea"/>
                <a:cs typeface="+mn-cs"/>
              </a:rPr>
              <a:t>Отраслевой бенчмаркинг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BD197F58-A46A-B492-6D13-7CB8AF21CCF0}"/>
              </a:ext>
            </a:extLst>
          </p:cNvPr>
          <p:cNvSpPr/>
          <p:nvPr/>
        </p:nvSpPr>
        <p:spPr bwMode="auto">
          <a:xfrm>
            <a:off x="6817967" y="2553490"/>
            <a:ext cx="1524783" cy="402370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Комплаенс требований законодательства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9357B69-B804-169D-036E-6A940E68BF44}"/>
              </a:ext>
            </a:extLst>
          </p:cNvPr>
          <p:cNvSpPr txBox="1"/>
          <p:nvPr/>
        </p:nvSpPr>
        <p:spPr>
          <a:xfrm>
            <a:off x="7633555" y="4339930"/>
            <a:ext cx="3949655" cy="6250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rgbClr val="1D3E76"/>
                </a:solidFill>
                <a:latin typeface="Century Gothic" panose="020B0502020202020204" pitchFamily="34" charset="0"/>
              </a:rPr>
              <a:t>Д</a:t>
            </a:r>
            <a:r>
              <a:rPr kumimoji="0" lang="ru-RU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ифференцированные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тарифы страхования жизни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900" b="1" dirty="0">
                <a:solidFill>
                  <a:srgbClr val="1D3E76"/>
                </a:solidFill>
                <a:latin typeface="Century Gothic" panose="020B0502020202020204" pitchFamily="34" charset="0"/>
              </a:rPr>
              <a:t>Д</a:t>
            </a:r>
            <a:r>
              <a:rPr kumimoji="0" lang="ru-RU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ифференцированные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объемы компенсационных выплат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rgbClr val="1D3E76"/>
                </a:solidFill>
                <a:latin typeface="Century Gothic" panose="020B0502020202020204" pitchFamily="34" charset="0"/>
              </a:rPr>
              <a:t>Д</a:t>
            </a:r>
            <a:r>
              <a:rPr kumimoji="0" lang="ru-RU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окументы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, подтверждающие возмещение СК затрат работодателя на превентивные и реабилитационные меры</a:t>
            </a:r>
          </a:p>
        </p:txBody>
      </p:sp>
      <p:cxnSp>
        <p:nvCxnSpPr>
          <p:cNvPr id="49" name="Прямая со стрелкой 39">
            <a:extLst>
              <a:ext uri="{FF2B5EF4-FFF2-40B4-BE49-F238E27FC236}">
                <a16:creationId xmlns:a16="http://schemas.microsoft.com/office/drawing/2014/main" id="{4BF4051A-91C2-19A5-2A42-46E27E128E91}"/>
              </a:ext>
            </a:extLst>
          </p:cNvPr>
          <p:cNvCxnSpPr>
            <a:cxnSpLocks/>
          </p:cNvCxnSpPr>
          <p:nvPr/>
        </p:nvCxnSpPr>
        <p:spPr bwMode="auto">
          <a:xfrm rot="10800000" flipV="1">
            <a:off x="3014286" y="5127371"/>
            <a:ext cx="6775499" cy="387740"/>
          </a:xfrm>
          <a:prstGeom prst="bentConnector3">
            <a:avLst>
              <a:gd name="adj1" fmla="val 320"/>
            </a:avLst>
          </a:prstGeom>
          <a:ln>
            <a:solidFill>
              <a:srgbClr val="002060"/>
            </a:solidFill>
            <a:prstDash val="dash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0" name="Прямая со стрелкой 39">
            <a:extLst>
              <a:ext uri="{FF2B5EF4-FFF2-40B4-BE49-F238E27FC236}">
                <a16:creationId xmlns:a16="http://schemas.microsoft.com/office/drawing/2014/main" id="{EB0FC26D-BA93-46F7-8535-9112C18EC58B}"/>
              </a:ext>
            </a:extLst>
          </p:cNvPr>
          <p:cNvCxnSpPr>
            <a:cxnSpLocks/>
            <a:endCxn id="26" idx="3"/>
          </p:cNvCxnSpPr>
          <p:nvPr/>
        </p:nvCxnSpPr>
        <p:spPr bwMode="auto">
          <a:xfrm flipV="1">
            <a:off x="3000026" y="2071177"/>
            <a:ext cx="7201487" cy="3579208"/>
          </a:xfrm>
          <a:prstGeom prst="bentConnector3">
            <a:avLst>
              <a:gd name="adj1" fmla="val 124152"/>
            </a:avLst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14D19DBF-447F-7418-1BE7-4E5A560E6604}"/>
              </a:ext>
            </a:extLst>
          </p:cNvPr>
          <p:cNvSpPr txBox="1"/>
          <p:nvPr/>
        </p:nvSpPr>
        <p:spPr>
          <a:xfrm>
            <a:off x="252332" y="3842664"/>
            <a:ext cx="153042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ru-RU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Инструменталь-ные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замеры</a:t>
            </a:r>
          </a:p>
        </p:txBody>
      </p:sp>
      <p:cxnSp>
        <p:nvCxnSpPr>
          <p:cNvPr id="52" name="Прямая со стрелкой 39">
            <a:extLst>
              <a:ext uri="{FF2B5EF4-FFF2-40B4-BE49-F238E27FC236}">
                <a16:creationId xmlns:a16="http://schemas.microsoft.com/office/drawing/2014/main" id="{9338651A-E8A7-67AF-69C4-B0D4248B7DC5}"/>
              </a:ext>
            </a:extLst>
          </p:cNvPr>
          <p:cNvCxnSpPr>
            <a:cxnSpLocks/>
          </p:cNvCxnSpPr>
          <p:nvPr/>
        </p:nvCxnSpPr>
        <p:spPr bwMode="auto">
          <a:xfrm>
            <a:off x="814971" y="4159636"/>
            <a:ext cx="438945" cy="339050"/>
          </a:xfrm>
          <a:prstGeom prst="bentConnector3">
            <a:avLst>
              <a:gd name="adj1" fmla="val 4714"/>
            </a:avLst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3" name="Прямая со стрелкой 39">
            <a:extLst>
              <a:ext uri="{FF2B5EF4-FFF2-40B4-BE49-F238E27FC236}">
                <a16:creationId xmlns:a16="http://schemas.microsoft.com/office/drawing/2014/main" id="{81EA29AA-7DC1-52EC-56CD-8E4A20565A02}"/>
              </a:ext>
            </a:extLst>
          </p:cNvPr>
          <p:cNvCxnSpPr>
            <a:cxnSpLocks/>
            <a:stCxn id="61" idx="2"/>
            <a:endCxn id="20" idx="3"/>
          </p:cNvCxnSpPr>
          <p:nvPr/>
        </p:nvCxnSpPr>
        <p:spPr bwMode="auto">
          <a:xfrm rot="5400000">
            <a:off x="3528039" y="4110901"/>
            <a:ext cx="295130" cy="451276"/>
          </a:xfrm>
          <a:prstGeom prst="bentConnector2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239030A6-1FE4-9551-68F2-7E1863172C0A}"/>
              </a:ext>
            </a:extLst>
          </p:cNvPr>
          <p:cNvSpPr txBox="1"/>
          <p:nvPr/>
        </p:nvSpPr>
        <p:spPr>
          <a:xfrm>
            <a:off x="1253916" y="5043071"/>
            <a:ext cx="299772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Ранжирование рисков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Оценка  по чек –листу тех. требования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4C77EDF-186C-10CD-E118-A23A5CDAA199}"/>
              </a:ext>
            </a:extLst>
          </p:cNvPr>
          <p:cNvSpPr txBox="1"/>
          <p:nvPr/>
        </p:nvSpPr>
        <p:spPr>
          <a:xfrm>
            <a:off x="3136028" y="3835031"/>
            <a:ext cx="1530427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татистика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травматизма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A5590E8-1472-89AF-D2B4-B5AA1EE7BD6A}"/>
              </a:ext>
            </a:extLst>
          </p:cNvPr>
          <p:cNvSpPr txBox="1"/>
          <p:nvPr/>
        </p:nvSpPr>
        <p:spPr>
          <a:xfrm>
            <a:off x="6283054" y="3087499"/>
            <a:ext cx="5004609" cy="1061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степень (допустимый риск) – если требования выполнены более чем на 91%;</a:t>
            </a:r>
          </a:p>
          <a:p>
            <a:pPr marL="0" marR="0" lvl="0" indent="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степень (низкий риск) – при выполнении требований на 71-90%;</a:t>
            </a:r>
          </a:p>
          <a:p>
            <a:pPr marL="0" marR="0" lvl="0" indent="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 степень (средний риск)- при выполнении требований на 51-70%;</a:t>
            </a:r>
          </a:p>
          <a:p>
            <a:pPr marL="0" marR="0" lvl="0" indent="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 степень (высокий риск)– при выполнении требований от 31-50%;</a:t>
            </a:r>
          </a:p>
          <a:p>
            <a:pPr marL="0" marR="0" lvl="0" indent="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степень (очень высокий риск)– при выполнении требований на 30% и менее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1D3E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368723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/>
          <p:cNvGraphicFramePr>
            <a:graphicFrameLocks noGrp="1"/>
          </p:cNvGraphicFramePr>
          <p:nvPr>
            <p:ph idx="1"/>
          </p:nvPr>
        </p:nvGraphicFramePr>
        <p:xfrm>
          <a:off x="164098" y="1772228"/>
          <a:ext cx="6199415" cy="37200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Диаграмма 9"/>
          <p:cNvGraphicFramePr/>
          <p:nvPr/>
        </p:nvGraphicFramePr>
        <p:xfrm>
          <a:off x="6363513" y="1869643"/>
          <a:ext cx="5756945" cy="42449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5">
            <a:extLst>
              <a:ext uri="{FF2B5EF4-FFF2-40B4-BE49-F238E27FC236}">
                <a16:creationId xmlns:a16="http://schemas.microsoft.com/office/drawing/2014/main" id="{5A9BC5E9-1964-4001-8741-C9B7AC3B378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" y="4097"/>
            <a:ext cx="10863262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>
              <a:defRPr/>
            </a:pPr>
            <a:r>
              <a:rPr lang="ru-RU" sz="1600" b="1" dirty="0">
                <a:solidFill>
                  <a:srgbClr val="057AAB"/>
                </a:solidFill>
                <a:latin typeface="Century Gothic" panose="020B0502020202020204" pitchFamily="34" charset="0"/>
              </a:rPr>
              <a:t>Сопоставительный анализ репрезентативных данных об условиях труда на рабочих местах в разрезе исследуемых отраслей по основным профессиональным группам с формированием карт опасностей </a:t>
            </a:r>
            <a:r>
              <a:rPr lang="ru-RU" sz="1600" i="1" dirty="0">
                <a:solidFill>
                  <a:srgbClr val="057AAB"/>
                </a:solidFill>
                <a:latin typeface="Century Gothic" panose="020B0502020202020204" pitchFamily="34" charset="0"/>
              </a:rPr>
              <a:t>(</a:t>
            </a:r>
            <a:r>
              <a:rPr lang="ru-RU" sz="1600" i="1" dirty="0">
                <a:solidFill>
                  <a:srgbClr val="007AAB"/>
                </a:solidFill>
              </a:rPr>
              <a:t>горнодобывающая отрасль)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57AAB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3E226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charset="0"/>
            </a:endParaRPr>
          </a:p>
        </p:txBody>
      </p:sp>
      <p:grpSp>
        <p:nvGrpSpPr>
          <p:cNvPr id="13" name="Группа 34">
            <a:extLst>
              <a:ext uri="{FF2B5EF4-FFF2-40B4-BE49-F238E27FC236}">
                <a16:creationId xmlns:a16="http://schemas.microsoft.com/office/drawing/2014/main" id="{6E334BA6-62C9-E42E-AAAD-459CE8C58783}"/>
              </a:ext>
            </a:extLst>
          </p:cNvPr>
          <p:cNvGrpSpPr>
            <a:grpSpLocks/>
          </p:cNvGrpSpPr>
          <p:nvPr/>
        </p:nvGrpSpPr>
        <p:grpSpPr bwMode="auto">
          <a:xfrm>
            <a:off x="0" y="865144"/>
            <a:ext cx="12192000" cy="46037"/>
            <a:chOff x="0" y="661986"/>
            <a:chExt cx="12192000" cy="45720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6A20727D-7F8A-348F-C782-93EF2984631B}"/>
                </a:ext>
              </a:extLst>
            </p:cNvPr>
            <p:cNvSpPr/>
            <p:nvPr/>
          </p:nvSpPr>
          <p:spPr>
            <a:xfrm>
              <a:off x="0" y="661986"/>
              <a:ext cx="10263187" cy="45720"/>
            </a:xfrm>
            <a:prstGeom prst="rect">
              <a:avLst/>
            </a:prstGeom>
            <a:solidFill>
              <a:srgbClr val="3E22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B03C2EE4-8ADC-C559-A2E9-35F1E79A806E}"/>
                </a:ext>
              </a:extLst>
            </p:cNvPr>
            <p:cNvSpPr/>
            <p:nvPr/>
          </p:nvSpPr>
          <p:spPr>
            <a:xfrm>
              <a:off x="10863262" y="661986"/>
              <a:ext cx="1328738" cy="45720"/>
            </a:xfrm>
            <a:prstGeom prst="rect">
              <a:avLst/>
            </a:prstGeom>
            <a:solidFill>
              <a:srgbClr val="007A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7AAB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17474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Прямоугольник 196">
            <a:extLst>
              <a:ext uri="{FF2B5EF4-FFF2-40B4-BE49-F238E27FC236}">
                <a16:creationId xmlns:a16="http://schemas.microsoft.com/office/drawing/2014/main" id="{6A328F0A-D261-4F18-8678-790B9F991C63}"/>
              </a:ext>
            </a:extLst>
          </p:cNvPr>
          <p:cNvSpPr/>
          <p:nvPr/>
        </p:nvSpPr>
        <p:spPr>
          <a:xfrm>
            <a:off x="11771848" y="99073"/>
            <a:ext cx="2904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6" name="Группа 34">
            <a:extLst>
              <a:ext uri="{FF2B5EF4-FFF2-40B4-BE49-F238E27FC236}">
                <a16:creationId xmlns:a16="http://schemas.microsoft.com/office/drawing/2014/main" id="{6E334BA6-62C9-E42E-AAAD-459CE8C58783}"/>
              </a:ext>
            </a:extLst>
          </p:cNvPr>
          <p:cNvGrpSpPr>
            <a:grpSpLocks/>
          </p:cNvGrpSpPr>
          <p:nvPr/>
        </p:nvGrpSpPr>
        <p:grpSpPr bwMode="auto">
          <a:xfrm>
            <a:off x="0" y="810038"/>
            <a:ext cx="12192000" cy="46037"/>
            <a:chOff x="0" y="661986"/>
            <a:chExt cx="12192000" cy="45720"/>
          </a:xfrm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6A20727D-7F8A-348F-C782-93EF2984631B}"/>
                </a:ext>
              </a:extLst>
            </p:cNvPr>
            <p:cNvSpPr/>
            <p:nvPr/>
          </p:nvSpPr>
          <p:spPr>
            <a:xfrm>
              <a:off x="0" y="661986"/>
              <a:ext cx="10263187" cy="45720"/>
            </a:xfrm>
            <a:prstGeom prst="rect">
              <a:avLst/>
            </a:prstGeom>
            <a:solidFill>
              <a:srgbClr val="3E22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B03C2EE4-8ADC-C559-A2E9-35F1E79A806E}"/>
                </a:ext>
              </a:extLst>
            </p:cNvPr>
            <p:cNvSpPr/>
            <p:nvPr/>
          </p:nvSpPr>
          <p:spPr>
            <a:xfrm>
              <a:off x="10863262" y="661986"/>
              <a:ext cx="1328738" cy="45720"/>
            </a:xfrm>
            <a:prstGeom prst="rect">
              <a:avLst/>
            </a:prstGeom>
            <a:solidFill>
              <a:srgbClr val="48C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7CB8B5C2-983B-05D2-73E3-3DBCC56AA4A6}"/>
              </a:ext>
            </a:extLst>
          </p:cNvPr>
          <p:cNvSpPr txBox="1"/>
          <p:nvPr/>
        </p:nvSpPr>
        <p:spPr>
          <a:xfrm>
            <a:off x="129688" y="109998"/>
            <a:ext cx="1193262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charset="0"/>
              </a:rPr>
              <a:t>Сбор аналитических данных о состоянии условий труда, включая замеры факторов производственной среды, визуальный мониторинг,</a:t>
            </a:r>
            <a:r>
              <a:rPr kumimoji="0" lang="ru-RU" sz="1200" b="1" i="0" u="none" strike="noStrike" kern="1200" cap="none" spc="0" normalizeH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charset="0"/>
              </a:rPr>
              <a:t> анкетирование,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charset="0"/>
              </a:rPr>
              <a:t>анализ результатов оценки профессиональных рисков на предприятиях различных сфер деятельности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charset="0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ourier New" panose="02070309020205020404" pitchFamily="49" charset="0"/>
              </a:rPr>
              <a:t>ТОО «НДФЗ</a:t>
            </a:r>
            <a:r>
              <a:rPr lang="ru-RU" sz="1400" b="1" dirty="0">
                <a:solidFill>
                  <a:srgbClr val="007AAB"/>
                </a:solidFill>
                <a:latin typeface="Century Gothic" panose="020B0502020202020204" pitchFamily="34" charset="0"/>
                <a:cs typeface="Courier New" panose="02070309020205020404" pitchFamily="49" charset="0"/>
              </a:rPr>
              <a:t>»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7AA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DA4718-4402-2DE5-60B5-68AE8BA9EE32}"/>
              </a:ext>
            </a:extLst>
          </p:cNvPr>
          <p:cNvCxnSpPr>
            <a:cxnSpLocks/>
          </p:cNvCxnSpPr>
          <p:nvPr/>
        </p:nvCxnSpPr>
        <p:spPr>
          <a:xfrm flipH="1">
            <a:off x="6004468" y="1248745"/>
            <a:ext cx="18040" cy="5533221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aphicFrame>
        <p:nvGraphicFramePr>
          <p:cNvPr id="23" name="Диаграмма 22">
            <a:extLst>
              <a:ext uri="{FF2B5EF4-FFF2-40B4-BE49-F238E27FC236}">
                <a16:creationId xmlns:a16="http://schemas.microsoft.com/office/drawing/2014/main" id="{98BF42E5-2627-43D4-844E-FCD04724C45C}"/>
              </a:ext>
            </a:extLst>
          </p:cNvPr>
          <p:cNvGraphicFramePr>
            <a:graphicFrameLocks/>
          </p:cNvGraphicFramePr>
          <p:nvPr/>
        </p:nvGraphicFramePr>
        <p:xfrm>
          <a:off x="5898486" y="117388"/>
          <a:ext cx="6066179" cy="3951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CB677073-4566-4316-913E-AE7678BC60A7}"/>
              </a:ext>
            </a:extLst>
          </p:cNvPr>
          <p:cNvCxnSpPr>
            <a:cxnSpLocks/>
          </p:cNvCxnSpPr>
          <p:nvPr/>
        </p:nvCxnSpPr>
        <p:spPr>
          <a:xfrm flipH="1">
            <a:off x="6004468" y="1248745"/>
            <a:ext cx="18040" cy="5533221"/>
          </a:xfrm>
          <a:prstGeom prst="line">
            <a:avLst/>
          </a:prstGeom>
          <a:ln>
            <a:prstDash val="das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21B75923-AEEE-4F05-9210-D0288D681946}"/>
              </a:ext>
            </a:extLst>
          </p:cNvPr>
          <p:cNvSpPr txBox="1"/>
          <p:nvPr/>
        </p:nvSpPr>
        <p:spPr>
          <a:xfrm>
            <a:off x="6004468" y="5697262"/>
            <a:ext cx="338513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7A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профессий/работников с условиями труда, </a:t>
            </a:r>
          </a:p>
          <a:p>
            <a:pPr algn="ctr"/>
            <a:r>
              <a:rPr lang="ru-RU" sz="1200" b="1" dirty="0">
                <a:solidFill>
                  <a:srgbClr val="007A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рактеризующимися наличием ВПФ</a:t>
            </a:r>
            <a:endParaRPr lang="ru-KZ" sz="1200" b="1" dirty="0">
              <a:solidFill>
                <a:srgbClr val="007AA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30EDC77-2FDA-47E9-85A5-A0B03588BCF0}"/>
              </a:ext>
            </a:extLst>
          </p:cNvPr>
          <p:cNvSpPr txBox="1"/>
          <p:nvPr/>
        </p:nvSpPr>
        <p:spPr>
          <a:xfrm>
            <a:off x="5868606" y="3993157"/>
            <a:ext cx="1891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007AAB"/>
                </a:solidFill>
              </a:rPr>
              <a:t>31</a:t>
            </a:r>
            <a:r>
              <a:rPr lang="ru-RU" sz="2000" b="1" dirty="0">
                <a:solidFill>
                  <a:srgbClr val="007AAB"/>
                </a:solidFill>
              </a:rPr>
              <a:t> </a:t>
            </a:r>
          </a:p>
          <a:p>
            <a:pPr algn="ctr"/>
            <a:r>
              <a:rPr lang="ru-RU" sz="1100" dirty="0"/>
              <a:t>   несчастный случай*</a:t>
            </a:r>
            <a:endParaRPr lang="ru-KZ" sz="11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FF6F86D-279E-489E-B46A-C9084B41CD63}"/>
              </a:ext>
            </a:extLst>
          </p:cNvPr>
          <p:cNvSpPr txBox="1"/>
          <p:nvPr/>
        </p:nvSpPr>
        <p:spPr>
          <a:xfrm>
            <a:off x="7393221" y="3971655"/>
            <a:ext cx="17228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007AAB"/>
                </a:solidFill>
              </a:rPr>
              <a:t>34 </a:t>
            </a:r>
          </a:p>
          <a:p>
            <a:pPr algn="ctr"/>
            <a:r>
              <a:rPr lang="ru-RU" sz="1100" dirty="0"/>
              <a:t>пострадавших</a:t>
            </a:r>
            <a:endParaRPr lang="ru-KZ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4DBF4E2-C89F-478A-B16A-573A311A50A8}"/>
              </a:ext>
            </a:extLst>
          </p:cNvPr>
          <p:cNvSpPr txBox="1"/>
          <p:nvPr/>
        </p:nvSpPr>
        <p:spPr>
          <a:xfrm>
            <a:off x="8710484" y="3897647"/>
            <a:ext cx="1722818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007AAB"/>
                </a:solidFill>
              </a:rPr>
              <a:t>1</a:t>
            </a:r>
            <a:r>
              <a:rPr lang="ru-RU" sz="2800" b="1" dirty="0">
                <a:solidFill>
                  <a:srgbClr val="007AAB"/>
                </a:solidFill>
              </a:rPr>
              <a:t> </a:t>
            </a:r>
          </a:p>
          <a:p>
            <a:pPr algn="ctr"/>
            <a:r>
              <a:rPr lang="ru-RU" sz="1100" dirty="0"/>
              <a:t>погибший</a:t>
            </a:r>
            <a:endParaRPr lang="ru-KZ" sz="14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A0C459A-124D-408C-8137-B24E0814EBDB}"/>
              </a:ext>
            </a:extLst>
          </p:cNvPr>
          <p:cNvSpPr txBox="1"/>
          <p:nvPr/>
        </p:nvSpPr>
        <p:spPr>
          <a:xfrm>
            <a:off x="10442322" y="3981121"/>
            <a:ext cx="1891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007AAB"/>
                </a:solidFill>
              </a:rPr>
              <a:t>9</a:t>
            </a:r>
            <a:endParaRPr lang="ru-RU" sz="2000" b="1" dirty="0">
              <a:solidFill>
                <a:srgbClr val="007AAB"/>
              </a:solidFill>
            </a:endParaRPr>
          </a:p>
          <a:p>
            <a:pPr algn="ctr"/>
            <a:r>
              <a:rPr lang="ru-RU" sz="1100" dirty="0"/>
              <a:t>всего </a:t>
            </a:r>
            <a:r>
              <a:rPr lang="ru-RU" sz="1100" dirty="0" err="1"/>
              <a:t>проф</a:t>
            </a:r>
            <a:r>
              <a:rPr lang="kk-KZ" sz="1100" dirty="0"/>
              <a:t>болезней</a:t>
            </a:r>
            <a:endParaRPr lang="ru-KZ" sz="11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2933E8A-ADA9-4120-B154-A3D0C2772012}"/>
              </a:ext>
            </a:extLst>
          </p:cNvPr>
          <p:cNvSpPr txBox="1"/>
          <p:nvPr/>
        </p:nvSpPr>
        <p:spPr>
          <a:xfrm>
            <a:off x="6207202" y="4622072"/>
            <a:ext cx="2661769" cy="769441"/>
          </a:xfrm>
          <a:prstGeom prst="rect">
            <a:avLst/>
          </a:prstGeom>
          <a:noFill/>
          <a:ln w="6350">
            <a:solidFill>
              <a:srgbClr val="48C3D7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100" dirty="0"/>
              <a:t>Преобладают такие виды НС как, падение пострадавшего, воздействие вредных производственных факторов, ожоги, падение пострадавшего с высоты</a:t>
            </a:r>
            <a:endParaRPr lang="ru-KZ" sz="1100" dirty="0"/>
          </a:p>
        </p:txBody>
      </p:sp>
      <p:sp>
        <p:nvSpPr>
          <p:cNvPr id="35" name="object 5">
            <a:extLst>
              <a:ext uri="{FF2B5EF4-FFF2-40B4-BE49-F238E27FC236}">
                <a16:creationId xmlns:a16="http://schemas.microsoft.com/office/drawing/2014/main" id="{7CE96D77-1E01-4F7E-B1BD-611E6D09C810}"/>
              </a:ext>
            </a:extLst>
          </p:cNvPr>
          <p:cNvSpPr/>
          <p:nvPr/>
        </p:nvSpPr>
        <p:spPr>
          <a:xfrm>
            <a:off x="7634322" y="6576709"/>
            <a:ext cx="2808000" cy="45719"/>
          </a:xfrm>
          <a:custGeom>
            <a:avLst/>
            <a:gdLst/>
            <a:ahLst/>
            <a:cxnLst/>
            <a:rect l="l" t="t" r="r" b="b"/>
            <a:pathLst>
              <a:path w="6007100">
                <a:moveTo>
                  <a:pt x="0" y="0"/>
                </a:moveTo>
                <a:lnTo>
                  <a:pt x="6007100" y="0"/>
                </a:lnTo>
              </a:path>
            </a:pathLst>
          </a:cu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7369BA8-49D8-4CD0-B4A7-DFB04410C728}"/>
              </a:ext>
            </a:extLst>
          </p:cNvPr>
          <p:cNvSpPr txBox="1"/>
          <p:nvPr/>
        </p:nvSpPr>
        <p:spPr>
          <a:xfrm>
            <a:off x="9329827" y="4622072"/>
            <a:ext cx="2661769" cy="769441"/>
          </a:xfrm>
          <a:prstGeom prst="rect">
            <a:avLst/>
          </a:prstGeom>
          <a:noFill/>
          <a:ln w="6350">
            <a:solidFill>
              <a:srgbClr val="48C3D7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100" dirty="0"/>
              <a:t>Преобладают такие заболевания как, хроническая интоксикация соединениями фосфора II степени, дыхательная недостаточность I степени.</a:t>
            </a:r>
            <a:endParaRPr lang="ru-KZ" sz="1100" dirty="0"/>
          </a:p>
        </p:txBody>
      </p:sp>
      <p:graphicFrame>
        <p:nvGraphicFramePr>
          <p:cNvPr id="38" name="Диаграмма 37">
            <a:extLst>
              <a:ext uri="{FF2B5EF4-FFF2-40B4-BE49-F238E27FC236}">
                <a16:creationId xmlns:a16="http://schemas.microsoft.com/office/drawing/2014/main" id="{66FB34E8-71AD-40A7-AEC8-B103D7FB64D3}"/>
              </a:ext>
            </a:extLst>
          </p:cNvPr>
          <p:cNvGraphicFramePr/>
          <p:nvPr/>
        </p:nvGraphicFramePr>
        <p:xfrm>
          <a:off x="9329827" y="5192457"/>
          <a:ext cx="3356813" cy="15895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22" name="Объект 5"/>
              <p:cNvGraphicFramePr>
                <a:graphicFrameLocks noGrp="1"/>
              </p:cNvGraphicFramePr>
              <p:nvPr>
                <p:ph idx="1"/>
              </p:nvPr>
            </p:nvGraphicFramePr>
            <p:xfrm>
              <a:off x="-560546" y="1324779"/>
              <a:ext cx="6926310" cy="5533222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22" name="Объект 5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560546" y="1324779"/>
                <a:ext cx="6926310" cy="5533222"/>
              </a:xfrm>
              <a:prstGeom prst="rect">
                <a:avLst/>
              </a:prstGeom>
            </p:spPr>
          </p:pic>
        </mc:Fallback>
      </mc:AlternateContent>
      <p:sp>
        <p:nvSpPr>
          <p:cNvPr id="25" name="TextBox 24">
            <a:extLst>
              <a:ext uri="{FF2B5EF4-FFF2-40B4-BE49-F238E27FC236}">
                <a16:creationId xmlns:a16="http://schemas.microsoft.com/office/drawing/2014/main" id="{7CB8B5C2-983B-05D2-73E3-3DBCC56AA4A6}"/>
              </a:ext>
            </a:extLst>
          </p:cNvPr>
          <p:cNvSpPr txBox="1"/>
          <p:nvPr/>
        </p:nvSpPr>
        <p:spPr>
          <a:xfrm>
            <a:off x="264141" y="1024619"/>
            <a:ext cx="56349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</a:pPr>
            <a:r>
              <a:rPr lang="ru-RU" sz="1200" b="1" kern="100" dirty="0">
                <a:solidFill>
                  <a:srgbClr val="007AAB"/>
                </a:solidFill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редные факторы производственной среды и превышение П</a:t>
            </a:r>
            <a:r>
              <a:rPr lang="ru-RU" sz="1200" b="1" kern="100" dirty="0">
                <a:solidFill>
                  <a:srgbClr val="007AAB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К</a:t>
            </a:r>
            <a:endParaRPr lang="en-GB" sz="1200" kern="100" dirty="0">
              <a:solidFill>
                <a:srgbClr val="007AAB"/>
              </a:solidFill>
              <a:effectLst/>
              <a:latin typeface="Century Gothic" panose="020B050202020202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48765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/>
          <p:cNvGraphicFramePr>
            <a:graphicFrameLocks noGrp="1"/>
          </p:cNvGraphicFramePr>
          <p:nvPr>
            <p:ph idx="1"/>
          </p:nvPr>
        </p:nvGraphicFramePr>
        <p:xfrm>
          <a:off x="347871" y="1121472"/>
          <a:ext cx="6715324" cy="49612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Диаграмма 9"/>
          <p:cNvGraphicFramePr/>
          <p:nvPr/>
        </p:nvGraphicFramePr>
        <p:xfrm>
          <a:off x="7848364" y="1121472"/>
          <a:ext cx="4110264" cy="5268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54D6264-B528-8F36-6BCB-76F4A66ACEAC}"/>
              </a:ext>
            </a:extLst>
          </p:cNvPr>
          <p:cNvSpPr txBox="1"/>
          <p:nvPr/>
        </p:nvSpPr>
        <p:spPr>
          <a:xfrm>
            <a:off x="132346" y="228599"/>
            <a:ext cx="1190725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charset="0"/>
              </a:rPr>
              <a:t>Сбор аналитических данных о состоянии условий труда, включая замеры факторов производственной среды, визуальный мониторинг, анкетирование, анализ результатов оценки профессиональных рисков на предприятиях различных сфер деятельности </a:t>
            </a:r>
            <a:r>
              <a:rPr kumimoji="0" lang="ru-RU" sz="1400" b="1" i="0" u="none" strike="noStrike" kern="100" cap="none" spc="0" normalizeH="0" baseline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 «</a:t>
            </a:r>
            <a:r>
              <a:rPr kumimoji="0" lang="en-US" sz="1400" b="1" i="0" u="none" strike="noStrike" kern="100" cap="none" spc="0" normalizeH="0" baseline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 Group</a:t>
            </a:r>
            <a:r>
              <a:rPr kumimoji="0" lang="ru-RU" sz="1400" b="1" i="0" u="none" strike="noStrike" kern="100" cap="none" spc="0" normalizeH="0" baseline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r>
              <a:rPr kumimoji="0" lang="en-US" sz="1400" b="1" i="0" u="none" strike="noStrike" kern="100" cap="none" spc="0" normalizeH="0" baseline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kk-KZ" sz="1400" b="1" i="0" u="none" strike="noStrike" kern="100" cap="none" spc="0" normalizeH="0" baseline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 ТОО «ЕРЕН- групп»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7AA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7D3245A-51DF-72B0-83AD-65BE6A39FE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346" y="991326"/>
            <a:ext cx="12192000" cy="42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3036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/>
          <p:cNvGraphicFramePr>
            <a:graphicFrameLocks noGrp="1"/>
          </p:cNvGraphicFramePr>
          <p:nvPr>
            <p:ph idx="1"/>
          </p:nvPr>
        </p:nvGraphicFramePr>
        <p:xfrm>
          <a:off x="577821" y="1134127"/>
          <a:ext cx="11191875" cy="5328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5678">
                  <a:extLst>
                    <a:ext uri="{9D8B030D-6E8A-4147-A177-3AD203B41FA5}">
                      <a16:colId xmlns:a16="http://schemas.microsoft.com/office/drawing/2014/main" val="2538194765"/>
                    </a:ext>
                  </a:extLst>
                </a:gridCol>
                <a:gridCol w="4143375">
                  <a:extLst>
                    <a:ext uri="{9D8B030D-6E8A-4147-A177-3AD203B41FA5}">
                      <a16:colId xmlns:a16="http://schemas.microsoft.com/office/drawing/2014/main" val="2790761932"/>
                    </a:ext>
                  </a:extLst>
                </a:gridCol>
                <a:gridCol w="4332822">
                  <a:extLst>
                    <a:ext uri="{9D8B030D-6E8A-4147-A177-3AD203B41FA5}">
                      <a16:colId xmlns:a16="http://schemas.microsoft.com/office/drawing/2014/main" val="1498853824"/>
                    </a:ext>
                  </a:extLst>
                </a:gridCol>
              </a:tblGrid>
              <a:tr h="635769">
                <a:tc>
                  <a:txBody>
                    <a:bodyPr/>
                    <a:lstStyle/>
                    <a:p>
                      <a:pPr algn="l" fontAlgn="t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>
                    <a:solidFill>
                      <a:srgbClr val="007A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СК «</a:t>
                      </a:r>
                      <a:r>
                        <a:rPr lang="en-US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BI Group»</a:t>
                      </a:r>
                    </a:p>
                  </a:txBody>
                  <a:tcPr marL="9525" marR="9525" marT="9525" marB="0">
                    <a:solidFill>
                      <a:srgbClr val="007A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ТОО «ЕРЕН - групп»</a:t>
                      </a:r>
                    </a:p>
                  </a:txBody>
                  <a:tcPr marL="9525" marR="9525" marT="9525" marB="0">
                    <a:solidFill>
                      <a:srgbClr val="007A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8372334"/>
                  </a:ext>
                </a:extLst>
              </a:tr>
              <a:tr h="635769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Физические факторы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Шум: 82,5–84,3 дБ; Вибрация: 76,2–79,8 дБ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Шум: 82,5–84,3 дБ; Вибрация: 76,2–79,8 дБ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54526995"/>
                  </a:ext>
                </a:extLst>
              </a:tr>
              <a:tr h="635769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Химические факторы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Производственная пыль: Марганец и его соединения: 6,1–7,8 мг/м³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Слабофиброгенные аэрозоли: 8,8–16,8 мг/м³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0997020"/>
                  </a:ext>
                </a:extLst>
              </a:tr>
              <a:tr h="635769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Основные риски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Заболевания органов дыхания (респираторные заболевания, пневмокониоз); Кожные заболевания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Заболевания органов дыхания (ХОБЛ, пневмокониоз, хронический бронхит); Аллергические реакци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8802719"/>
                  </a:ext>
                </a:extLst>
              </a:tr>
              <a:tr h="878537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Профессиональные заболевания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Профессиональные заболевания не выявлены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7 работников с хроническими соматическими заболеваниями (глаза, костно-мышечная система, нервная система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452525"/>
                  </a:ext>
                </a:extLst>
              </a:tr>
              <a:tr h="635769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Производственный травматизм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Несчастных случаев за 2021–2024 годы не зафиксировано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 несчастных случая за 2021–2024 годы (1 смертельный случай – ДТП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404458"/>
                  </a:ext>
                </a:extLst>
              </a:tr>
              <a:tr h="635769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Опасные профессии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Бетонщик; Сварщик;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Монолитчик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; Электрик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Монолитчик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; Стропальщик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33425185"/>
                  </a:ext>
                </a:extLst>
              </a:tr>
              <a:tr h="635769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Общие выводы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Высокие риски профессиональных заболеваний из-за превышения физической нагрузки и воздействия пыли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Более высокий уровень травматизма; значительное воздействие вредных факторов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9784266"/>
                  </a:ext>
                </a:extLst>
              </a:tr>
            </a:tbl>
          </a:graphicData>
        </a:graphic>
      </p:graphicFrame>
      <p:sp>
        <p:nvSpPr>
          <p:cNvPr id="11" name="TextBox 15">
            <a:extLst>
              <a:ext uri="{FF2B5EF4-FFF2-40B4-BE49-F238E27FC236}">
                <a16:creationId xmlns:a16="http://schemas.microsoft.com/office/drawing/2014/main" id="{5A9BC5E9-1964-4001-8741-C9B7AC3B378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3176"/>
            <a:ext cx="1219200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>
              <a:defRPr/>
            </a:pPr>
            <a:r>
              <a:rPr lang="ru-RU" sz="1600" b="1" dirty="0">
                <a:solidFill>
                  <a:srgbClr val="057AAB"/>
                </a:solidFill>
                <a:latin typeface="Century Gothic" panose="020B0502020202020204" pitchFamily="34" charset="0"/>
              </a:rPr>
              <a:t>Сопоставительный анализ репрезентативных данных об условиях труда на рабочих местах в разрезе исследуемых отраслей по основным профессиональным группам с формированием карт опасностей </a:t>
            </a:r>
            <a:r>
              <a:rPr lang="ru-RU" sz="1600" i="1" dirty="0">
                <a:solidFill>
                  <a:srgbClr val="057AAB"/>
                </a:solidFill>
                <a:latin typeface="Century Gothic" panose="020B0502020202020204" pitchFamily="34" charset="0"/>
              </a:rPr>
              <a:t>(</a:t>
            </a:r>
            <a:r>
              <a:rPr lang="ru-RU" sz="1600" i="1" dirty="0">
                <a:solidFill>
                  <a:srgbClr val="007AAB"/>
                </a:solidFill>
              </a:rPr>
              <a:t>строительная отрасль)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57AAB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3E226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charset="0"/>
            </a:endParaRPr>
          </a:p>
        </p:txBody>
      </p:sp>
      <p:grpSp>
        <p:nvGrpSpPr>
          <p:cNvPr id="13" name="Группа 34">
            <a:extLst>
              <a:ext uri="{FF2B5EF4-FFF2-40B4-BE49-F238E27FC236}">
                <a16:creationId xmlns:a16="http://schemas.microsoft.com/office/drawing/2014/main" id="{6E334BA6-62C9-E42E-AAAD-459CE8C58783}"/>
              </a:ext>
            </a:extLst>
          </p:cNvPr>
          <p:cNvGrpSpPr>
            <a:grpSpLocks/>
          </p:cNvGrpSpPr>
          <p:nvPr/>
        </p:nvGrpSpPr>
        <p:grpSpPr bwMode="auto">
          <a:xfrm>
            <a:off x="0" y="865144"/>
            <a:ext cx="12192000" cy="46037"/>
            <a:chOff x="0" y="661986"/>
            <a:chExt cx="12192000" cy="45720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6A20727D-7F8A-348F-C782-93EF2984631B}"/>
                </a:ext>
              </a:extLst>
            </p:cNvPr>
            <p:cNvSpPr/>
            <p:nvPr/>
          </p:nvSpPr>
          <p:spPr>
            <a:xfrm>
              <a:off x="0" y="661986"/>
              <a:ext cx="10263187" cy="45720"/>
            </a:xfrm>
            <a:prstGeom prst="rect">
              <a:avLst/>
            </a:prstGeom>
            <a:solidFill>
              <a:srgbClr val="3E22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B03C2EE4-8ADC-C559-A2E9-35F1E79A806E}"/>
                </a:ext>
              </a:extLst>
            </p:cNvPr>
            <p:cNvSpPr/>
            <p:nvPr/>
          </p:nvSpPr>
          <p:spPr>
            <a:xfrm>
              <a:off x="10863262" y="661986"/>
              <a:ext cx="1328738" cy="45720"/>
            </a:xfrm>
            <a:prstGeom prst="rect">
              <a:avLst/>
            </a:prstGeom>
            <a:solidFill>
              <a:srgbClr val="007A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7AAB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89420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Левая круглая скобка 210">
            <a:extLst>
              <a:ext uri="{FF2B5EF4-FFF2-40B4-BE49-F238E27FC236}">
                <a16:creationId xmlns:a16="http://schemas.microsoft.com/office/drawing/2014/main" id="{61016C2C-6A7A-175F-4C1E-E69494881516}"/>
              </a:ext>
            </a:extLst>
          </p:cNvPr>
          <p:cNvSpPr/>
          <p:nvPr/>
        </p:nvSpPr>
        <p:spPr>
          <a:xfrm rot="5400000" flipV="1">
            <a:off x="683222" y="4001518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61" name="Прямая соединительная линия 160">
            <a:extLst>
              <a:ext uri="{FF2B5EF4-FFF2-40B4-BE49-F238E27FC236}">
                <a16:creationId xmlns:a16="http://schemas.microsoft.com/office/drawing/2014/main" id="{A85F7D03-BD53-376E-038B-38BF08C50E0B}"/>
              </a:ext>
            </a:extLst>
          </p:cNvPr>
          <p:cNvCxnSpPr>
            <a:cxnSpLocks/>
          </p:cNvCxnSpPr>
          <p:nvPr/>
        </p:nvCxnSpPr>
        <p:spPr>
          <a:xfrm flipV="1">
            <a:off x="755446" y="3517749"/>
            <a:ext cx="0" cy="720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67" name="Прямая соединительная линия 266">
            <a:extLst>
              <a:ext uri="{FF2B5EF4-FFF2-40B4-BE49-F238E27FC236}">
                <a16:creationId xmlns:a16="http://schemas.microsoft.com/office/drawing/2014/main" id="{E52B046D-7242-4497-9149-9441B0784C7F}"/>
              </a:ext>
            </a:extLst>
          </p:cNvPr>
          <p:cNvCxnSpPr/>
          <p:nvPr/>
        </p:nvCxnSpPr>
        <p:spPr>
          <a:xfrm>
            <a:off x="1519226" y="5116720"/>
            <a:ext cx="3744000" cy="0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>
            <a:extLst>
              <a:ext uri="{FF2B5EF4-FFF2-40B4-BE49-F238E27FC236}">
                <a16:creationId xmlns:a16="http://schemas.microsoft.com/office/drawing/2014/main" id="{C162C5BB-420E-BB03-4D64-750BF328216C}"/>
              </a:ext>
            </a:extLst>
          </p:cNvPr>
          <p:cNvCxnSpPr/>
          <p:nvPr/>
        </p:nvCxnSpPr>
        <p:spPr>
          <a:xfrm>
            <a:off x="5792845" y="5088125"/>
            <a:ext cx="3240000" cy="0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42" name="Прямая соединительная линия 141">
            <a:extLst>
              <a:ext uri="{FF2B5EF4-FFF2-40B4-BE49-F238E27FC236}">
                <a16:creationId xmlns:a16="http://schemas.microsoft.com/office/drawing/2014/main" id="{A72FDBBB-FADF-03B1-F998-378EE65152A2}"/>
              </a:ext>
            </a:extLst>
          </p:cNvPr>
          <p:cNvCxnSpPr>
            <a:cxnSpLocks/>
          </p:cNvCxnSpPr>
          <p:nvPr/>
        </p:nvCxnSpPr>
        <p:spPr>
          <a:xfrm>
            <a:off x="9531384" y="4376331"/>
            <a:ext cx="2304000" cy="0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DAFF05C4-1A60-5913-901A-EEF4D70C1DBF}"/>
              </a:ext>
            </a:extLst>
          </p:cNvPr>
          <p:cNvCxnSpPr/>
          <p:nvPr/>
        </p:nvCxnSpPr>
        <p:spPr>
          <a:xfrm>
            <a:off x="198963" y="2959100"/>
            <a:ext cx="11808000" cy="0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15ABA581-A0E4-4434-C0D9-55EC7D3EFF9C}"/>
              </a:ext>
            </a:extLst>
          </p:cNvPr>
          <p:cNvCxnSpPr/>
          <p:nvPr/>
        </p:nvCxnSpPr>
        <p:spPr>
          <a:xfrm>
            <a:off x="266700" y="3517895"/>
            <a:ext cx="11628000" cy="0"/>
          </a:xfrm>
          <a:prstGeom prst="line">
            <a:avLst/>
          </a:prstGeom>
          <a:ln w="38100"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14" name="Прямая соединительная линия 313">
            <a:extLst>
              <a:ext uri="{FF2B5EF4-FFF2-40B4-BE49-F238E27FC236}">
                <a16:creationId xmlns:a16="http://schemas.microsoft.com/office/drawing/2014/main" id="{99BE9A41-4DDC-EFDD-46DC-AAABB211A832}"/>
              </a:ext>
            </a:extLst>
          </p:cNvPr>
          <p:cNvCxnSpPr>
            <a:cxnSpLocks/>
          </p:cNvCxnSpPr>
          <p:nvPr/>
        </p:nvCxnSpPr>
        <p:spPr>
          <a:xfrm flipV="1">
            <a:off x="4425358" y="5117229"/>
            <a:ext cx="0" cy="1332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11" name="Прямая соединительная линия 310">
            <a:extLst>
              <a:ext uri="{FF2B5EF4-FFF2-40B4-BE49-F238E27FC236}">
                <a16:creationId xmlns:a16="http://schemas.microsoft.com/office/drawing/2014/main" id="{4B715786-986F-7735-A2E8-C717224EB289}"/>
              </a:ext>
            </a:extLst>
          </p:cNvPr>
          <p:cNvCxnSpPr>
            <a:cxnSpLocks/>
          </p:cNvCxnSpPr>
          <p:nvPr/>
        </p:nvCxnSpPr>
        <p:spPr>
          <a:xfrm flipV="1">
            <a:off x="5112824" y="5118033"/>
            <a:ext cx="0" cy="864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10" name="Прямая соединительная линия 309">
            <a:extLst>
              <a:ext uri="{FF2B5EF4-FFF2-40B4-BE49-F238E27FC236}">
                <a16:creationId xmlns:a16="http://schemas.microsoft.com/office/drawing/2014/main" id="{0AF2E893-984C-675E-E072-76EB1078D9F6}"/>
              </a:ext>
            </a:extLst>
          </p:cNvPr>
          <p:cNvCxnSpPr>
            <a:cxnSpLocks/>
          </p:cNvCxnSpPr>
          <p:nvPr/>
        </p:nvCxnSpPr>
        <p:spPr>
          <a:xfrm flipV="1">
            <a:off x="3708606" y="5118033"/>
            <a:ext cx="0" cy="864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95" name="Прямая соединительная линия 294">
            <a:extLst>
              <a:ext uri="{FF2B5EF4-FFF2-40B4-BE49-F238E27FC236}">
                <a16:creationId xmlns:a16="http://schemas.microsoft.com/office/drawing/2014/main" id="{A895753C-3716-EED9-47E6-F5766B19E33F}"/>
              </a:ext>
            </a:extLst>
          </p:cNvPr>
          <p:cNvCxnSpPr>
            <a:cxnSpLocks/>
          </p:cNvCxnSpPr>
          <p:nvPr/>
        </p:nvCxnSpPr>
        <p:spPr>
          <a:xfrm flipV="1">
            <a:off x="1519226" y="5108391"/>
            <a:ext cx="0" cy="46800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94" name="Прямая соединительная линия 293">
            <a:extLst>
              <a:ext uri="{FF2B5EF4-FFF2-40B4-BE49-F238E27FC236}">
                <a16:creationId xmlns:a16="http://schemas.microsoft.com/office/drawing/2014/main" id="{46D0E74A-E059-5211-6EDA-0AC03DEE8032}"/>
              </a:ext>
            </a:extLst>
          </p:cNvPr>
          <p:cNvCxnSpPr>
            <a:cxnSpLocks/>
          </p:cNvCxnSpPr>
          <p:nvPr/>
        </p:nvCxnSpPr>
        <p:spPr>
          <a:xfrm>
            <a:off x="1092183" y="5384314"/>
            <a:ext cx="17009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13" name="Прямая соединительная линия 212">
            <a:extLst>
              <a:ext uri="{FF2B5EF4-FFF2-40B4-BE49-F238E27FC236}">
                <a16:creationId xmlns:a16="http://schemas.microsoft.com/office/drawing/2014/main" id="{2ACDD255-598E-E626-6A9E-B8FF404CF0C2}"/>
              </a:ext>
            </a:extLst>
          </p:cNvPr>
          <p:cNvCxnSpPr/>
          <p:nvPr/>
        </p:nvCxnSpPr>
        <p:spPr>
          <a:xfrm flipV="1">
            <a:off x="3228812" y="3523628"/>
            <a:ext cx="0" cy="1584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53" name="Прямая соединительная линия 152">
            <a:extLst>
              <a:ext uri="{FF2B5EF4-FFF2-40B4-BE49-F238E27FC236}">
                <a16:creationId xmlns:a16="http://schemas.microsoft.com/office/drawing/2014/main" id="{BE460635-C845-EBA4-1BEA-98AA4976D788}"/>
              </a:ext>
            </a:extLst>
          </p:cNvPr>
          <p:cNvCxnSpPr>
            <a:cxnSpLocks/>
          </p:cNvCxnSpPr>
          <p:nvPr/>
        </p:nvCxnSpPr>
        <p:spPr>
          <a:xfrm flipV="1">
            <a:off x="10598690" y="3533586"/>
            <a:ext cx="0" cy="828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4" name="TextBox 15">
            <a:extLst>
              <a:ext uri="{FF2B5EF4-FFF2-40B4-BE49-F238E27FC236}">
                <a16:creationId xmlns:a16="http://schemas.microsoft.com/office/drawing/2014/main" id="{5A9BC5E9-1964-4001-8741-C9B7AC3B378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-73537"/>
            <a:ext cx="12191999" cy="83099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>
              <a:defRPr/>
            </a:pPr>
            <a:r>
              <a:rPr lang="ru-RU" sz="1600" dirty="0">
                <a:solidFill>
                  <a:srgbClr val="007AAB"/>
                </a:solidFill>
                <a:latin typeface="Century Gothic" pitchFamily="34" charset="0"/>
                <a:cs typeface="Arial" pitchFamily="34" charset="0"/>
              </a:rPr>
              <a:t>Научно-методические разработки.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Century Gothic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ourier New" panose="02070309020205020404" pitchFamily="49" charset="0"/>
              </a:rPr>
              <a:t>Актуализированный Классификатор вредных и опасных производственных факторов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7AAB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charset="0"/>
            </a:endParaRP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3B4BA1B-56C1-97FA-9A07-629D7EFF7227}"/>
              </a:ext>
            </a:extLst>
          </p:cNvPr>
          <p:cNvCxnSpPr/>
          <p:nvPr/>
        </p:nvCxnSpPr>
        <p:spPr>
          <a:xfrm flipV="1">
            <a:off x="5562600" y="2959100"/>
            <a:ext cx="0" cy="540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C91BD7F2-E087-0A79-36A3-2154143EB48B}"/>
              </a:ext>
            </a:extLst>
          </p:cNvPr>
          <p:cNvCxnSpPr>
            <a:cxnSpLocks/>
          </p:cNvCxnSpPr>
          <p:nvPr/>
        </p:nvCxnSpPr>
        <p:spPr>
          <a:xfrm flipV="1">
            <a:off x="584189" y="2683761"/>
            <a:ext cx="0" cy="267339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DAD91E32-1344-EC16-DAAF-DFCB56198A77}"/>
              </a:ext>
            </a:extLst>
          </p:cNvPr>
          <p:cNvSpPr/>
          <p:nvPr/>
        </p:nvSpPr>
        <p:spPr>
          <a:xfrm>
            <a:off x="4565299" y="3125492"/>
            <a:ext cx="2084060" cy="230625"/>
          </a:xfrm>
          <a:prstGeom prst="rect">
            <a:avLst/>
          </a:prstGeom>
          <a:solidFill>
            <a:srgbClr val="DBE0E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Химические факторы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A4EBFE37-CA61-1D1D-4C9A-F499A5865A7A}"/>
              </a:ext>
            </a:extLst>
          </p:cNvPr>
          <p:cNvSpPr/>
          <p:nvPr/>
        </p:nvSpPr>
        <p:spPr>
          <a:xfrm>
            <a:off x="22515" y="2552578"/>
            <a:ext cx="1238266" cy="2711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Чрезвычайноопасные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1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кл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. опасности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F524CEEB-D2D6-2FD1-732B-06CA75FC25A5}"/>
              </a:ext>
            </a:extLst>
          </p:cNvPr>
          <p:cNvCxnSpPr>
            <a:cxnSpLocks/>
          </p:cNvCxnSpPr>
          <p:nvPr/>
        </p:nvCxnSpPr>
        <p:spPr>
          <a:xfrm flipV="1">
            <a:off x="1617121" y="1943100"/>
            <a:ext cx="0" cy="1008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1" name="Левая круглая скобка 20">
            <a:extLst>
              <a:ext uri="{FF2B5EF4-FFF2-40B4-BE49-F238E27FC236}">
                <a16:creationId xmlns:a16="http://schemas.microsoft.com/office/drawing/2014/main" id="{737D807B-71B5-7FE0-8960-5DC8D57A9DFA}"/>
              </a:ext>
            </a:extLst>
          </p:cNvPr>
          <p:cNvSpPr/>
          <p:nvPr/>
        </p:nvSpPr>
        <p:spPr>
          <a:xfrm rot="16200000">
            <a:off x="1556953" y="1566308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11C43C50-AF47-61DE-D04A-ADA5F1705C88}"/>
              </a:ext>
            </a:extLst>
          </p:cNvPr>
          <p:cNvSpPr/>
          <p:nvPr/>
        </p:nvSpPr>
        <p:spPr>
          <a:xfrm>
            <a:off x="1031564" y="2193488"/>
            <a:ext cx="1166806" cy="2711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Высокоопасны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2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кл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. опасности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AC11F50F-6844-74B2-EE9B-F9C068CA1EE1}"/>
              </a:ext>
            </a:extLst>
          </p:cNvPr>
          <p:cNvCxnSpPr>
            <a:cxnSpLocks/>
          </p:cNvCxnSpPr>
          <p:nvPr/>
        </p:nvCxnSpPr>
        <p:spPr>
          <a:xfrm flipV="1">
            <a:off x="2631664" y="2810616"/>
            <a:ext cx="0" cy="144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332165B8-7C6E-91C1-49C2-8A74C40AFFF9}"/>
              </a:ext>
            </a:extLst>
          </p:cNvPr>
          <p:cNvSpPr/>
          <p:nvPr/>
        </p:nvSpPr>
        <p:spPr>
          <a:xfrm>
            <a:off x="2024341" y="2555287"/>
            <a:ext cx="1166806" cy="2711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Умеренноопасные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3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кл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. опасности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3FD0534C-A6CB-0468-B4CF-E8458DC5ED74}"/>
              </a:ext>
            </a:extLst>
          </p:cNvPr>
          <p:cNvCxnSpPr>
            <a:cxnSpLocks/>
          </p:cNvCxnSpPr>
          <p:nvPr/>
        </p:nvCxnSpPr>
        <p:spPr>
          <a:xfrm flipV="1">
            <a:off x="3311480" y="2086437"/>
            <a:ext cx="0" cy="864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6F0569F7-1078-F7C8-B939-A05536610F89}"/>
              </a:ext>
            </a:extLst>
          </p:cNvPr>
          <p:cNvSpPr/>
          <p:nvPr/>
        </p:nvSpPr>
        <p:spPr>
          <a:xfrm>
            <a:off x="2758773" y="1834854"/>
            <a:ext cx="1166806" cy="2711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Малоопасны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4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кл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. опасности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90CD721A-6E74-DC7C-1C08-B9091768BE38}"/>
              </a:ext>
            </a:extLst>
          </p:cNvPr>
          <p:cNvCxnSpPr>
            <a:cxnSpLocks/>
          </p:cNvCxnSpPr>
          <p:nvPr/>
        </p:nvCxnSpPr>
        <p:spPr>
          <a:xfrm flipV="1">
            <a:off x="4563240" y="1961285"/>
            <a:ext cx="0" cy="1008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44" name="Левая круглая скобка 43">
            <a:extLst>
              <a:ext uri="{FF2B5EF4-FFF2-40B4-BE49-F238E27FC236}">
                <a16:creationId xmlns:a16="http://schemas.microsoft.com/office/drawing/2014/main" id="{F1878028-7FCB-C672-27A8-882687D6545B}"/>
              </a:ext>
            </a:extLst>
          </p:cNvPr>
          <p:cNvSpPr/>
          <p:nvPr/>
        </p:nvSpPr>
        <p:spPr>
          <a:xfrm rot="16200000">
            <a:off x="4099823" y="1076192"/>
            <a:ext cx="757011" cy="992221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EA9D7BDD-079E-0A25-1FBD-57ECC529FBE9}"/>
              </a:ext>
            </a:extLst>
          </p:cNvPr>
          <p:cNvSpPr/>
          <p:nvPr/>
        </p:nvSpPr>
        <p:spPr>
          <a:xfrm>
            <a:off x="3979837" y="2194318"/>
            <a:ext cx="1166806" cy="3313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Опасные для развития острого отравления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3E9324C6-B8B8-7922-7723-17D654B930FD}"/>
              </a:ext>
            </a:extLst>
          </p:cNvPr>
          <p:cNvSpPr/>
          <p:nvPr/>
        </p:nvSpPr>
        <p:spPr>
          <a:xfrm>
            <a:off x="3446790" y="1339148"/>
            <a:ext cx="1000241" cy="2822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Остронаправлен-ного действия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352DE73A-2021-43B0-85AD-6300209F2729}"/>
              </a:ext>
            </a:extLst>
          </p:cNvPr>
          <p:cNvSpPr/>
          <p:nvPr/>
        </p:nvSpPr>
        <p:spPr>
          <a:xfrm>
            <a:off x="4552897" y="1354222"/>
            <a:ext cx="992224" cy="233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Раздражающего действия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Левая круглая скобка 47">
            <a:extLst>
              <a:ext uri="{FF2B5EF4-FFF2-40B4-BE49-F238E27FC236}">
                <a16:creationId xmlns:a16="http://schemas.microsoft.com/office/drawing/2014/main" id="{7F4BA048-8971-FE22-9A0D-22EA4879AE04}"/>
              </a:ext>
            </a:extLst>
          </p:cNvPr>
          <p:cNvSpPr/>
          <p:nvPr/>
        </p:nvSpPr>
        <p:spPr>
          <a:xfrm rot="16200000">
            <a:off x="3854314" y="827481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Левая круглая скобка 48">
            <a:extLst>
              <a:ext uri="{FF2B5EF4-FFF2-40B4-BE49-F238E27FC236}">
                <a16:creationId xmlns:a16="http://schemas.microsoft.com/office/drawing/2014/main" id="{B0839099-E2D3-2F1C-1AB8-C9D5CC6BC596}"/>
              </a:ext>
            </a:extLst>
          </p:cNvPr>
          <p:cNvSpPr/>
          <p:nvPr/>
        </p:nvSpPr>
        <p:spPr>
          <a:xfrm rot="16200000">
            <a:off x="4907610" y="803335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B98110CC-950C-1A8E-2A3B-00176CE17A29}"/>
              </a:ext>
            </a:extLst>
          </p:cNvPr>
          <p:cNvCxnSpPr>
            <a:cxnSpLocks/>
          </p:cNvCxnSpPr>
          <p:nvPr/>
        </p:nvCxnSpPr>
        <p:spPr>
          <a:xfrm flipV="1">
            <a:off x="5869233" y="1945988"/>
            <a:ext cx="0" cy="1008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C05F5BE7-8A04-D89D-AA9B-B758DB8DECA8}"/>
              </a:ext>
            </a:extLst>
          </p:cNvPr>
          <p:cNvSpPr/>
          <p:nvPr/>
        </p:nvSpPr>
        <p:spPr>
          <a:xfrm>
            <a:off x="5285830" y="2421695"/>
            <a:ext cx="1166806" cy="2001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Канцерогены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4" name="Левая круглая скобка 63">
            <a:extLst>
              <a:ext uri="{FF2B5EF4-FFF2-40B4-BE49-F238E27FC236}">
                <a16:creationId xmlns:a16="http://schemas.microsoft.com/office/drawing/2014/main" id="{B70E4059-2C64-E150-61C7-012A597C10DB}"/>
              </a:ext>
            </a:extLst>
          </p:cNvPr>
          <p:cNvSpPr/>
          <p:nvPr/>
        </p:nvSpPr>
        <p:spPr>
          <a:xfrm rot="16200000">
            <a:off x="5791208" y="1566308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E7B6B151-7F39-8680-4690-7BF931618CED}"/>
              </a:ext>
            </a:extLst>
          </p:cNvPr>
          <p:cNvCxnSpPr>
            <a:cxnSpLocks/>
          </p:cNvCxnSpPr>
          <p:nvPr/>
        </p:nvCxnSpPr>
        <p:spPr>
          <a:xfrm flipV="1">
            <a:off x="7021986" y="1942986"/>
            <a:ext cx="0" cy="1008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F8BD6AEF-9848-B2D7-C8B0-4D1571DECB52}"/>
              </a:ext>
            </a:extLst>
          </p:cNvPr>
          <p:cNvSpPr/>
          <p:nvPr/>
        </p:nvSpPr>
        <p:spPr>
          <a:xfrm>
            <a:off x="6548366" y="2302933"/>
            <a:ext cx="990221" cy="436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Опасные для репродуктивного здоровья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Левая круглая скобка 68">
            <a:extLst>
              <a:ext uri="{FF2B5EF4-FFF2-40B4-BE49-F238E27FC236}">
                <a16:creationId xmlns:a16="http://schemas.microsoft.com/office/drawing/2014/main" id="{A28F09B4-586E-630C-19B4-965213C90BCD}"/>
              </a:ext>
            </a:extLst>
          </p:cNvPr>
          <p:cNvSpPr/>
          <p:nvPr/>
        </p:nvSpPr>
        <p:spPr>
          <a:xfrm rot="16200000">
            <a:off x="6960895" y="1563306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961D0549-A542-EF48-69E3-24EA654BA33C}"/>
              </a:ext>
            </a:extLst>
          </p:cNvPr>
          <p:cNvCxnSpPr>
            <a:cxnSpLocks/>
          </p:cNvCxnSpPr>
          <p:nvPr/>
        </p:nvCxnSpPr>
        <p:spPr>
          <a:xfrm flipV="1">
            <a:off x="8261144" y="1946285"/>
            <a:ext cx="0" cy="1008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31BF8B6B-3BD8-AA9A-81E3-EEDAD60B222B}"/>
              </a:ext>
            </a:extLst>
          </p:cNvPr>
          <p:cNvSpPr/>
          <p:nvPr/>
        </p:nvSpPr>
        <p:spPr>
          <a:xfrm>
            <a:off x="7668986" y="2352431"/>
            <a:ext cx="1166806" cy="3313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Аллергены промышленные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Левая круглая скобка 74">
            <a:extLst>
              <a:ext uri="{FF2B5EF4-FFF2-40B4-BE49-F238E27FC236}">
                <a16:creationId xmlns:a16="http://schemas.microsoft.com/office/drawing/2014/main" id="{A57EED35-A345-A19E-D1B3-7E37B609E666}"/>
              </a:ext>
            </a:extLst>
          </p:cNvPr>
          <p:cNvSpPr/>
          <p:nvPr/>
        </p:nvSpPr>
        <p:spPr>
          <a:xfrm rot="16200000">
            <a:off x="7929466" y="1051921"/>
            <a:ext cx="757011" cy="992221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3809AAA7-E15A-1BC6-320B-E3B461142876}"/>
              </a:ext>
            </a:extLst>
          </p:cNvPr>
          <p:cNvSpPr/>
          <p:nvPr/>
        </p:nvSpPr>
        <p:spPr>
          <a:xfrm>
            <a:off x="7168547" y="1337511"/>
            <a:ext cx="1100107" cy="1980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Высокоопасные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9B5D7767-118D-17C7-C77C-D65697493F7E}"/>
              </a:ext>
            </a:extLst>
          </p:cNvPr>
          <p:cNvSpPr/>
          <p:nvPr/>
        </p:nvSpPr>
        <p:spPr>
          <a:xfrm>
            <a:off x="8382543" y="1346663"/>
            <a:ext cx="1100106" cy="1980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Умеренноопасные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" name="Левая круглая скобка 77">
            <a:extLst>
              <a:ext uri="{FF2B5EF4-FFF2-40B4-BE49-F238E27FC236}">
                <a16:creationId xmlns:a16="http://schemas.microsoft.com/office/drawing/2014/main" id="{AC5D4DC3-A270-998F-13CF-896BBE3A2610}"/>
              </a:ext>
            </a:extLst>
          </p:cNvPr>
          <p:cNvSpPr/>
          <p:nvPr/>
        </p:nvSpPr>
        <p:spPr>
          <a:xfrm rot="16200000">
            <a:off x="7683957" y="803210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9" name="Левая круглая скобка 78">
            <a:extLst>
              <a:ext uri="{FF2B5EF4-FFF2-40B4-BE49-F238E27FC236}">
                <a16:creationId xmlns:a16="http://schemas.microsoft.com/office/drawing/2014/main" id="{04967EA5-7BD9-E846-99C4-7B5B138E9C37}"/>
              </a:ext>
            </a:extLst>
          </p:cNvPr>
          <p:cNvSpPr/>
          <p:nvPr/>
        </p:nvSpPr>
        <p:spPr>
          <a:xfrm rot="16200000">
            <a:off x="8737253" y="779064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id="{84F19D7C-E3C2-133B-35D4-A72CB662BE5C}"/>
              </a:ext>
            </a:extLst>
          </p:cNvPr>
          <p:cNvCxnSpPr>
            <a:cxnSpLocks/>
          </p:cNvCxnSpPr>
          <p:nvPr/>
        </p:nvCxnSpPr>
        <p:spPr>
          <a:xfrm flipV="1">
            <a:off x="9396875" y="1937388"/>
            <a:ext cx="0" cy="1008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D711AC0C-FB5B-C6E1-F8E5-021F66F49922}"/>
              </a:ext>
            </a:extLst>
          </p:cNvPr>
          <p:cNvSpPr/>
          <p:nvPr/>
        </p:nvSpPr>
        <p:spPr>
          <a:xfrm>
            <a:off x="8915134" y="2323610"/>
            <a:ext cx="929817" cy="3686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Лекарственные средства, гормоны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2" name="Левая круглая скобка 81">
            <a:extLst>
              <a:ext uri="{FF2B5EF4-FFF2-40B4-BE49-F238E27FC236}">
                <a16:creationId xmlns:a16="http://schemas.microsoft.com/office/drawing/2014/main" id="{4921C7E2-90A3-FB3F-CF60-E7E6475D0C22}"/>
              </a:ext>
            </a:extLst>
          </p:cNvPr>
          <p:cNvSpPr/>
          <p:nvPr/>
        </p:nvSpPr>
        <p:spPr>
          <a:xfrm rot="16200000">
            <a:off x="9326019" y="1557708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83" name="Прямая соединительная линия 82">
            <a:extLst>
              <a:ext uri="{FF2B5EF4-FFF2-40B4-BE49-F238E27FC236}">
                <a16:creationId xmlns:a16="http://schemas.microsoft.com/office/drawing/2014/main" id="{5B7995AA-2A85-12F0-C15A-92A466F74537}"/>
              </a:ext>
            </a:extLst>
          </p:cNvPr>
          <p:cNvCxnSpPr>
            <a:cxnSpLocks/>
          </p:cNvCxnSpPr>
          <p:nvPr/>
        </p:nvCxnSpPr>
        <p:spPr>
          <a:xfrm flipV="1">
            <a:off x="11435866" y="1949143"/>
            <a:ext cx="0" cy="1008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AF06AC2A-CDA2-4B97-C48A-230E7F4C87CE}"/>
              </a:ext>
            </a:extLst>
          </p:cNvPr>
          <p:cNvSpPr/>
          <p:nvPr/>
        </p:nvSpPr>
        <p:spPr>
          <a:xfrm>
            <a:off x="10927433" y="2256757"/>
            <a:ext cx="1079529" cy="5488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Аэрозоли преимущественно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иброгенного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 действия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6" name="Левая круглая скобка 85">
            <a:extLst>
              <a:ext uri="{FF2B5EF4-FFF2-40B4-BE49-F238E27FC236}">
                <a16:creationId xmlns:a16="http://schemas.microsoft.com/office/drawing/2014/main" id="{9460D231-3389-86E8-A4E3-5CF0C56E72C6}"/>
              </a:ext>
            </a:extLst>
          </p:cNvPr>
          <p:cNvSpPr/>
          <p:nvPr/>
        </p:nvSpPr>
        <p:spPr>
          <a:xfrm rot="16200000">
            <a:off x="11064245" y="1104929"/>
            <a:ext cx="757011" cy="903899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EE3F26A2-FF15-510D-E3B5-8EFC95F88FB1}"/>
              </a:ext>
            </a:extLst>
          </p:cNvPr>
          <p:cNvSpPr/>
          <p:nvPr/>
        </p:nvSpPr>
        <p:spPr>
          <a:xfrm>
            <a:off x="10468685" y="1300537"/>
            <a:ext cx="879323" cy="3582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Высоко –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и умеренно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иброгенные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950819EE-04E9-ABAC-96AB-5EB7754FE63E}"/>
              </a:ext>
            </a:extLst>
          </p:cNvPr>
          <p:cNvSpPr/>
          <p:nvPr/>
        </p:nvSpPr>
        <p:spPr>
          <a:xfrm>
            <a:off x="11401425" y="1330110"/>
            <a:ext cx="836043" cy="2408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Слабо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иброгенные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9" name="Левая круглая скобка 88">
            <a:extLst>
              <a:ext uri="{FF2B5EF4-FFF2-40B4-BE49-F238E27FC236}">
                <a16:creationId xmlns:a16="http://schemas.microsoft.com/office/drawing/2014/main" id="{3C120C9D-FA01-8343-1168-CCCB2259DB15}"/>
              </a:ext>
            </a:extLst>
          </p:cNvPr>
          <p:cNvSpPr/>
          <p:nvPr/>
        </p:nvSpPr>
        <p:spPr>
          <a:xfrm rot="16200000">
            <a:off x="10913537" y="896885"/>
            <a:ext cx="136057" cy="440832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1" name="Левая круглая скобка 90">
            <a:extLst>
              <a:ext uri="{FF2B5EF4-FFF2-40B4-BE49-F238E27FC236}">
                <a16:creationId xmlns:a16="http://schemas.microsoft.com/office/drawing/2014/main" id="{4B86C675-DD3D-549A-0C79-8732B99B407A}"/>
              </a:ext>
            </a:extLst>
          </p:cNvPr>
          <p:cNvSpPr/>
          <p:nvPr/>
        </p:nvSpPr>
        <p:spPr>
          <a:xfrm rot="16200000">
            <a:off x="11816041" y="888413"/>
            <a:ext cx="136057" cy="440832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9A374C4D-3B53-3437-17AD-645079B18654}"/>
              </a:ext>
            </a:extLst>
          </p:cNvPr>
          <p:cNvSpPr/>
          <p:nvPr/>
        </p:nvSpPr>
        <p:spPr>
          <a:xfrm>
            <a:off x="10389479" y="952034"/>
            <a:ext cx="613280" cy="97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11.1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313BD0AE-9D61-F922-B70D-AFD489418A7F}"/>
              </a:ext>
            </a:extLst>
          </p:cNvPr>
          <p:cNvSpPr/>
          <p:nvPr/>
        </p:nvSpPr>
        <p:spPr>
          <a:xfrm>
            <a:off x="10888143" y="959767"/>
            <a:ext cx="613280" cy="97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11.1.4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4" name="Прямая соединительная линия 93">
            <a:extLst>
              <a:ext uri="{FF2B5EF4-FFF2-40B4-BE49-F238E27FC236}">
                <a16:creationId xmlns:a16="http://schemas.microsoft.com/office/drawing/2014/main" id="{93AADD47-925B-0952-13EB-A9B380E1750C}"/>
              </a:ext>
            </a:extLst>
          </p:cNvPr>
          <p:cNvCxnSpPr/>
          <p:nvPr/>
        </p:nvCxnSpPr>
        <p:spPr>
          <a:xfrm flipV="1">
            <a:off x="7554947" y="3529532"/>
            <a:ext cx="0" cy="1548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id="{C76A0A0A-2DCE-450C-332C-2EE225DACD21}"/>
              </a:ext>
            </a:extLst>
          </p:cNvPr>
          <p:cNvSpPr/>
          <p:nvPr/>
        </p:nvSpPr>
        <p:spPr>
          <a:xfrm>
            <a:off x="9342501" y="3642599"/>
            <a:ext cx="2405832" cy="394208"/>
          </a:xfrm>
          <a:prstGeom prst="rect">
            <a:avLst/>
          </a:prstGeom>
          <a:solidFill>
            <a:srgbClr val="DBE0E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редные и опасные факторы трудового процесса</a:t>
            </a:r>
          </a:p>
        </p:txBody>
      </p:sp>
      <p:sp>
        <p:nvSpPr>
          <p:cNvPr id="97" name="Левая круглая скобка 96">
            <a:extLst>
              <a:ext uri="{FF2B5EF4-FFF2-40B4-BE49-F238E27FC236}">
                <a16:creationId xmlns:a16="http://schemas.microsoft.com/office/drawing/2014/main" id="{A24F3A1E-9A74-74EA-C266-3BF57C5E4F7A}"/>
              </a:ext>
            </a:extLst>
          </p:cNvPr>
          <p:cNvSpPr/>
          <p:nvPr/>
        </p:nvSpPr>
        <p:spPr>
          <a:xfrm rot="5400000" flipV="1">
            <a:off x="6154323" y="5509977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6" name="Прямая соединительная линия 95">
            <a:extLst>
              <a:ext uri="{FF2B5EF4-FFF2-40B4-BE49-F238E27FC236}">
                <a16:creationId xmlns:a16="http://schemas.microsoft.com/office/drawing/2014/main" id="{DAAE820B-AB06-571A-08C4-893203422F1E}"/>
              </a:ext>
            </a:extLst>
          </p:cNvPr>
          <p:cNvCxnSpPr>
            <a:cxnSpLocks/>
          </p:cNvCxnSpPr>
          <p:nvPr/>
        </p:nvCxnSpPr>
        <p:spPr>
          <a:xfrm flipV="1">
            <a:off x="6193977" y="5109977"/>
            <a:ext cx="0" cy="648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id="{2B6EA565-D31C-D4AF-F7BB-254E69E2FCC5}"/>
              </a:ext>
            </a:extLst>
          </p:cNvPr>
          <p:cNvSpPr/>
          <p:nvPr/>
        </p:nvSpPr>
        <p:spPr>
          <a:xfrm>
            <a:off x="5713196" y="5265193"/>
            <a:ext cx="949711" cy="2711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Электрическая энергия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0" name="Левая круглая скобка 99">
            <a:extLst>
              <a:ext uri="{FF2B5EF4-FFF2-40B4-BE49-F238E27FC236}">
                <a16:creationId xmlns:a16="http://schemas.microsoft.com/office/drawing/2014/main" id="{371DB73C-3C42-E007-01B5-8F398CE5456F}"/>
              </a:ext>
            </a:extLst>
          </p:cNvPr>
          <p:cNvSpPr/>
          <p:nvPr/>
        </p:nvSpPr>
        <p:spPr>
          <a:xfrm rot="5400000" flipV="1">
            <a:off x="7044996" y="5502841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9" name="Прямая соединительная линия 98">
            <a:extLst>
              <a:ext uri="{FF2B5EF4-FFF2-40B4-BE49-F238E27FC236}">
                <a16:creationId xmlns:a16="http://schemas.microsoft.com/office/drawing/2014/main" id="{95429221-CB4C-3600-CA48-5FA386F571FD}"/>
              </a:ext>
            </a:extLst>
          </p:cNvPr>
          <p:cNvCxnSpPr>
            <a:cxnSpLocks/>
          </p:cNvCxnSpPr>
          <p:nvPr/>
        </p:nvCxnSpPr>
        <p:spPr>
          <a:xfrm flipV="1">
            <a:off x="7067061" y="5100314"/>
            <a:ext cx="0" cy="648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BADB1D89-55DD-EF94-9979-14FBB595BBEC}"/>
              </a:ext>
            </a:extLst>
          </p:cNvPr>
          <p:cNvSpPr/>
          <p:nvPr/>
        </p:nvSpPr>
        <p:spPr>
          <a:xfrm>
            <a:off x="6731144" y="5326229"/>
            <a:ext cx="680170" cy="1758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Пожар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3" name="Левая круглая скобка 102">
            <a:extLst>
              <a:ext uri="{FF2B5EF4-FFF2-40B4-BE49-F238E27FC236}">
                <a16:creationId xmlns:a16="http://schemas.microsoft.com/office/drawing/2014/main" id="{CB58DD87-F8CC-5E28-454A-277762194F73}"/>
              </a:ext>
            </a:extLst>
          </p:cNvPr>
          <p:cNvSpPr/>
          <p:nvPr/>
        </p:nvSpPr>
        <p:spPr>
          <a:xfrm rot="5400000" flipV="1">
            <a:off x="7814431" y="5500895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02" name="Прямая соединительная линия 101">
            <a:extLst>
              <a:ext uri="{FF2B5EF4-FFF2-40B4-BE49-F238E27FC236}">
                <a16:creationId xmlns:a16="http://schemas.microsoft.com/office/drawing/2014/main" id="{B2A0BE3B-EAD2-ABE8-C84A-D13DC4BC563B}"/>
              </a:ext>
            </a:extLst>
          </p:cNvPr>
          <p:cNvCxnSpPr>
            <a:cxnSpLocks/>
          </p:cNvCxnSpPr>
          <p:nvPr/>
        </p:nvCxnSpPr>
        <p:spPr>
          <a:xfrm flipV="1">
            <a:off x="7853702" y="5088462"/>
            <a:ext cx="0" cy="648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4" name="Прямоугольник 103">
            <a:extLst>
              <a:ext uri="{FF2B5EF4-FFF2-40B4-BE49-F238E27FC236}">
                <a16:creationId xmlns:a16="http://schemas.microsoft.com/office/drawing/2014/main" id="{7E15F5B2-F624-06D8-9F7C-3F86BAEA7D9D}"/>
              </a:ext>
            </a:extLst>
          </p:cNvPr>
          <p:cNvSpPr/>
          <p:nvPr/>
        </p:nvSpPr>
        <p:spPr>
          <a:xfrm>
            <a:off x="7615112" y="5340643"/>
            <a:ext cx="597454" cy="1758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Взрыв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05" name="Прямая соединительная линия 104">
            <a:extLst>
              <a:ext uri="{FF2B5EF4-FFF2-40B4-BE49-F238E27FC236}">
                <a16:creationId xmlns:a16="http://schemas.microsoft.com/office/drawing/2014/main" id="{02B2B6A0-6DAC-858C-18EA-E6316003A036}"/>
              </a:ext>
            </a:extLst>
          </p:cNvPr>
          <p:cNvCxnSpPr>
            <a:cxnSpLocks/>
          </p:cNvCxnSpPr>
          <p:nvPr/>
        </p:nvCxnSpPr>
        <p:spPr>
          <a:xfrm flipV="1">
            <a:off x="8805938" y="5099807"/>
            <a:ext cx="0" cy="648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7" name="Прямоугольник 106">
            <a:extLst>
              <a:ext uri="{FF2B5EF4-FFF2-40B4-BE49-F238E27FC236}">
                <a16:creationId xmlns:a16="http://schemas.microsoft.com/office/drawing/2014/main" id="{DE4DA958-6149-7E7F-193C-408F056C4CD1}"/>
              </a:ext>
            </a:extLst>
          </p:cNvPr>
          <p:cNvSpPr/>
          <p:nvPr/>
        </p:nvSpPr>
        <p:spPr>
          <a:xfrm>
            <a:off x="8304551" y="5241155"/>
            <a:ext cx="1037950" cy="3653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Потенциальная энергия давления жидкости, газа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0" name="Левая круглая скобка 109">
            <a:extLst>
              <a:ext uri="{FF2B5EF4-FFF2-40B4-BE49-F238E27FC236}">
                <a16:creationId xmlns:a16="http://schemas.microsoft.com/office/drawing/2014/main" id="{2D71AAE2-1204-D92C-1110-5646732B2363}"/>
              </a:ext>
            </a:extLst>
          </p:cNvPr>
          <p:cNvSpPr/>
          <p:nvPr/>
        </p:nvSpPr>
        <p:spPr>
          <a:xfrm rot="5400000" flipV="1">
            <a:off x="8776328" y="5500895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Левая круглая скобка 114">
            <a:extLst>
              <a:ext uri="{FF2B5EF4-FFF2-40B4-BE49-F238E27FC236}">
                <a16:creationId xmlns:a16="http://schemas.microsoft.com/office/drawing/2014/main" id="{0F2D5F32-3410-3AAA-C54B-5F0C6AF16F68}"/>
              </a:ext>
            </a:extLst>
          </p:cNvPr>
          <p:cNvSpPr/>
          <p:nvPr/>
        </p:nvSpPr>
        <p:spPr>
          <a:xfrm rot="16200000">
            <a:off x="6000397" y="3961614"/>
            <a:ext cx="127804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7" name="Прямая соединительная линия 116">
            <a:extLst>
              <a:ext uri="{FF2B5EF4-FFF2-40B4-BE49-F238E27FC236}">
                <a16:creationId xmlns:a16="http://schemas.microsoft.com/office/drawing/2014/main" id="{DC76E527-7DDD-BF38-A942-8712833D5DAC}"/>
              </a:ext>
            </a:extLst>
          </p:cNvPr>
          <p:cNvCxnSpPr>
            <a:cxnSpLocks/>
          </p:cNvCxnSpPr>
          <p:nvPr/>
        </p:nvCxnSpPr>
        <p:spPr>
          <a:xfrm flipV="1">
            <a:off x="7011445" y="4357134"/>
            <a:ext cx="0" cy="714732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8" name="Левая круглая скобка 117">
            <a:extLst>
              <a:ext uri="{FF2B5EF4-FFF2-40B4-BE49-F238E27FC236}">
                <a16:creationId xmlns:a16="http://schemas.microsoft.com/office/drawing/2014/main" id="{7458F6EC-3A3F-7AF7-9B17-2DCDBA319F74}"/>
              </a:ext>
            </a:extLst>
          </p:cNvPr>
          <p:cNvSpPr/>
          <p:nvPr/>
        </p:nvSpPr>
        <p:spPr>
          <a:xfrm rot="16200000">
            <a:off x="6958650" y="3977818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9" name="Прямоугольник 118">
            <a:extLst>
              <a:ext uri="{FF2B5EF4-FFF2-40B4-BE49-F238E27FC236}">
                <a16:creationId xmlns:a16="http://schemas.microsoft.com/office/drawing/2014/main" id="{EFE38DE5-F173-743B-5E53-E3214B6111CC}"/>
              </a:ext>
            </a:extLst>
          </p:cNvPr>
          <p:cNvSpPr/>
          <p:nvPr/>
        </p:nvSpPr>
        <p:spPr>
          <a:xfrm>
            <a:off x="6560363" y="4593556"/>
            <a:ext cx="942384" cy="2711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Кинетическая энергия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20" name="Прямая соединительная линия 119">
            <a:extLst>
              <a:ext uri="{FF2B5EF4-FFF2-40B4-BE49-F238E27FC236}">
                <a16:creationId xmlns:a16="http://schemas.microsoft.com/office/drawing/2014/main" id="{FECEE2C3-2F2B-E65A-0479-0C9514170F38}"/>
              </a:ext>
            </a:extLst>
          </p:cNvPr>
          <p:cNvCxnSpPr>
            <a:cxnSpLocks/>
          </p:cNvCxnSpPr>
          <p:nvPr/>
        </p:nvCxnSpPr>
        <p:spPr>
          <a:xfrm flipV="1">
            <a:off x="8438920" y="4345602"/>
            <a:ext cx="0" cy="756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1" name="Левая круглая скобка 120">
            <a:extLst>
              <a:ext uri="{FF2B5EF4-FFF2-40B4-BE49-F238E27FC236}">
                <a16:creationId xmlns:a16="http://schemas.microsoft.com/office/drawing/2014/main" id="{98367F2C-57E1-1286-71FF-5001ED091236}"/>
              </a:ext>
            </a:extLst>
          </p:cNvPr>
          <p:cNvSpPr/>
          <p:nvPr/>
        </p:nvSpPr>
        <p:spPr>
          <a:xfrm rot="16200000">
            <a:off x="8378602" y="3977818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2" name="Прямоугольник 121">
            <a:extLst>
              <a:ext uri="{FF2B5EF4-FFF2-40B4-BE49-F238E27FC236}">
                <a16:creationId xmlns:a16="http://schemas.microsoft.com/office/drawing/2014/main" id="{24B0440E-54AF-797D-EFC5-DAB8E76A5D86}"/>
              </a:ext>
            </a:extLst>
          </p:cNvPr>
          <p:cNvSpPr/>
          <p:nvPr/>
        </p:nvSpPr>
        <p:spPr>
          <a:xfrm>
            <a:off x="7974012" y="4564036"/>
            <a:ext cx="950421" cy="3318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Потенциальная энергия силы тяжести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27" name="Прямая соединительная линия 126">
            <a:extLst>
              <a:ext uri="{FF2B5EF4-FFF2-40B4-BE49-F238E27FC236}">
                <a16:creationId xmlns:a16="http://schemas.microsoft.com/office/drawing/2014/main" id="{0A25838D-1C5C-7B54-633D-AB0F5B203B34}"/>
              </a:ext>
            </a:extLst>
          </p:cNvPr>
          <p:cNvCxnSpPr>
            <a:cxnSpLocks/>
          </p:cNvCxnSpPr>
          <p:nvPr/>
        </p:nvCxnSpPr>
        <p:spPr>
          <a:xfrm flipV="1">
            <a:off x="6035185" y="4337240"/>
            <a:ext cx="0" cy="756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6" name="Прямоугольник 115">
            <a:extLst>
              <a:ext uri="{FF2B5EF4-FFF2-40B4-BE49-F238E27FC236}">
                <a16:creationId xmlns:a16="http://schemas.microsoft.com/office/drawing/2014/main" id="{A52D79FC-B2DD-C644-BDBA-8428BD5F830C}"/>
              </a:ext>
            </a:extLst>
          </p:cNvPr>
          <p:cNvSpPr/>
          <p:nvPr/>
        </p:nvSpPr>
        <p:spPr>
          <a:xfrm>
            <a:off x="5595374" y="4578890"/>
            <a:ext cx="894664" cy="2711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Механическая энергия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0" name="Прямоугольник 129">
            <a:extLst>
              <a:ext uri="{FF2B5EF4-FFF2-40B4-BE49-F238E27FC236}">
                <a16:creationId xmlns:a16="http://schemas.microsoft.com/office/drawing/2014/main" id="{1EAFD2BC-5355-D165-BAA8-7F0619E4BB7B}"/>
              </a:ext>
            </a:extLst>
          </p:cNvPr>
          <p:cNvSpPr/>
          <p:nvPr/>
        </p:nvSpPr>
        <p:spPr>
          <a:xfrm>
            <a:off x="6317081" y="3652883"/>
            <a:ext cx="2427839" cy="394289"/>
          </a:xfrm>
          <a:prstGeom prst="rect">
            <a:avLst/>
          </a:prstGeom>
          <a:solidFill>
            <a:srgbClr val="DBE0E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пасные факторы производственной среды</a:t>
            </a:r>
          </a:p>
        </p:txBody>
      </p:sp>
      <p:sp>
        <p:nvSpPr>
          <p:cNvPr id="137" name="Левая круглая скобка 136">
            <a:extLst>
              <a:ext uri="{FF2B5EF4-FFF2-40B4-BE49-F238E27FC236}">
                <a16:creationId xmlns:a16="http://schemas.microsoft.com/office/drawing/2014/main" id="{2C48AD4D-3F38-F661-35B5-62B24ED25BEA}"/>
              </a:ext>
            </a:extLst>
          </p:cNvPr>
          <p:cNvSpPr/>
          <p:nvPr/>
        </p:nvSpPr>
        <p:spPr>
          <a:xfrm rot="5400000" flipV="1">
            <a:off x="11643430" y="4845031"/>
            <a:ext cx="120612" cy="606454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8" name="Прямая соединительная линия 137">
            <a:extLst>
              <a:ext uri="{FF2B5EF4-FFF2-40B4-BE49-F238E27FC236}">
                <a16:creationId xmlns:a16="http://schemas.microsoft.com/office/drawing/2014/main" id="{2D6F3479-2AF5-E484-72CA-9CA3166D9626}"/>
              </a:ext>
            </a:extLst>
          </p:cNvPr>
          <p:cNvCxnSpPr>
            <a:cxnSpLocks/>
          </p:cNvCxnSpPr>
          <p:nvPr/>
        </p:nvCxnSpPr>
        <p:spPr>
          <a:xfrm flipH="1" flipV="1">
            <a:off x="10862460" y="4374302"/>
            <a:ext cx="0" cy="1080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44" name="Левая круглая скобка 143">
            <a:extLst>
              <a:ext uri="{FF2B5EF4-FFF2-40B4-BE49-F238E27FC236}">
                <a16:creationId xmlns:a16="http://schemas.microsoft.com/office/drawing/2014/main" id="{D9C562A1-CC27-71CF-A26B-5A68909CA6DD}"/>
              </a:ext>
            </a:extLst>
          </p:cNvPr>
          <p:cNvSpPr/>
          <p:nvPr/>
        </p:nvSpPr>
        <p:spPr>
          <a:xfrm rot="5400000" flipV="1">
            <a:off x="9833994" y="4856019"/>
            <a:ext cx="127778" cy="606452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48" name="Прямая соединительная линия 147">
            <a:extLst>
              <a:ext uri="{FF2B5EF4-FFF2-40B4-BE49-F238E27FC236}">
                <a16:creationId xmlns:a16="http://schemas.microsoft.com/office/drawing/2014/main" id="{0B974C70-3274-1180-CA6A-C1FD550C7A35}"/>
              </a:ext>
            </a:extLst>
          </p:cNvPr>
          <p:cNvCxnSpPr>
            <a:cxnSpLocks/>
          </p:cNvCxnSpPr>
          <p:nvPr/>
        </p:nvCxnSpPr>
        <p:spPr>
          <a:xfrm flipV="1">
            <a:off x="11681104" y="4373240"/>
            <a:ext cx="0" cy="720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49" name="Левая круглая скобка 148">
            <a:extLst>
              <a:ext uri="{FF2B5EF4-FFF2-40B4-BE49-F238E27FC236}">
                <a16:creationId xmlns:a16="http://schemas.microsoft.com/office/drawing/2014/main" id="{021988A1-FAA0-F472-4BE7-75AA42541F27}"/>
              </a:ext>
            </a:extLst>
          </p:cNvPr>
          <p:cNvSpPr/>
          <p:nvPr/>
        </p:nvSpPr>
        <p:spPr>
          <a:xfrm rot="5400000" flipV="1">
            <a:off x="10777226" y="5208871"/>
            <a:ext cx="120610" cy="606454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id="{6CCF23B7-240A-79DC-EF79-346FBB238387}"/>
              </a:ext>
            </a:extLst>
          </p:cNvPr>
          <p:cNvSpPr/>
          <p:nvPr/>
        </p:nvSpPr>
        <p:spPr>
          <a:xfrm>
            <a:off x="10440838" y="4951099"/>
            <a:ext cx="823454" cy="3318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Нервно-психические перегрузки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51" name="Прямая соединительная линия 150">
            <a:extLst>
              <a:ext uri="{FF2B5EF4-FFF2-40B4-BE49-F238E27FC236}">
                <a16:creationId xmlns:a16="http://schemas.microsoft.com/office/drawing/2014/main" id="{0B302050-2805-EA97-490C-6E6B1102AA97}"/>
              </a:ext>
            </a:extLst>
          </p:cNvPr>
          <p:cNvCxnSpPr>
            <a:cxnSpLocks/>
          </p:cNvCxnSpPr>
          <p:nvPr/>
        </p:nvCxnSpPr>
        <p:spPr>
          <a:xfrm flipV="1">
            <a:off x="9908478" y="4367057"/>
            <a:ext cx="0" cy="720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id="{45FD1F26-169E-9608-3E3C-166D2837AD2A}"/>
              </a:ext>
            </a:extLst>
          </p:cNvPr>
          <p:cNvSpPr/>
          <p:nvPr/>
        </p:nvSpPr>
        <p:spPr>
          <a:xfrm>
            <a:off x="9426339" y="4597294"/>
            <a:ext cx="886554" cy="2710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изические перегрузки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4" name="Прямоугольник 183">
            <a:extLst>
              <a:ext uri="{FF2B5EF4-FFF2-40B4-BE49-F238E27FC236}">
                <a16:creationId xmlns:a16="http://schemas.microsoft.com/office/drawing/2014/main" id="{7EB436CA-095B-3535-E16B-4DA0F2AD2EC8}"/>
              </a:ext>
            </a:extLst>
          </p:cNvPr>
          <p:cNvSpPr/>
          <p:nvPr/>
        </p:nvSpPr>
        <p:spPr>
          <a:xfrm>
            <a:off x="94739" y="3659824"/>
            <a:ext cx="1394911" cy="359759"/>
          </a:xfrm>
          <a:prstGeom prst="rect">
            <a:avLst/>
          </a:prstGeom>
          <a:solidFill>
            <a:srgbClr val="DBE0E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иологически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акторы</a:t>
            </a:r>
          </a:p>
        </p:txBody>
      </p:sp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id="{BD2366BC-1539-FE59-B074-068269805116}"/>
              </a:ext>
            </a:extLst>
          </p:cNvPr>
          <p:cNvSpPr/>
          <p:nvPr/>
        </p:nvSpPr>
        <p:spPr>
          <a:xfrm>
            <a:off x="2536973" y="3660114"/>
            <a:ext cx="1361360" cy="359759"/>
          </a:xfrm>
          <a:prstGeom prst="rect">
            <a:avLst/>
          </a:prstGeom>
          <a:solidFill>
            <a:srgbClr val="DBE0E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изически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акторы</a:t>
            </a:r>
          </a:p>
        </p:txBody>
      </p:sp>
      <p:sp>
        <p:nvSpPr>
          <p:cNvPr id="259" name="Левая круглая скобка 258">
            <a:extLst>
              <a:ext uri="{FF2B5EF4-FFF2-40B4-BE49-F238E27FC236}">
                <a16:creationId xmlns:a16="http://schemas.microsoft.com/office/drawing/2014/main" id="{4DF184B3-BA60-CD5B-A056-386EC25DABD5}"/>
              </a:ext>
            </a:extLst>
          </p:cNvPr>
          <p:cNvSpPr/>
          <p:nvPr/>
        </p:nvSpPr>
        <p:spPr>
          <a:xfrm rot="10800000" flipV="1">
            <a:off x="1090382" y="5011814"/>
            <a:ext cx="169551" cy="1533007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60" name="Прямая соединительная линия 259">
            <a:extLst>
              <a:ext uri="{FF2B5EF4-FFF2-40B4-BE49-F238E27FC236}">
                <a16:creationId xmlns:a16="http://schemas.microsoft.com/office/drawing/2014/main" id="{189EE304-FC1B-C89F-9856-11F7544DF983}"/>
              </a:ext>
            </a:extLst>
          </p:cNvPr>
          <p:cNvCxnSpPr>
            <a:cxnSpLocks/>
          </p:cNvCxnSpPr>
          <p:nvPr/>
        </p:nvCxnSpPr>
        <p:spPr>
          <a:xfrm flipH="1">
            <a:off x="1260188" y="5572403"/>
            <a:ext cx="252000" cy="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61" name="Прямоугольник 260">
            <a:extLst>
              <a:ext uri="{FF2B5EF4-FFF2-40B4-BE49-F238E27FC236}">
                <a16:creationId xmlns:a16="http://schemas.microsoft.com/office/drawing/2014/main" id="{1605B49B-1426-069B-5304-52562A45C527}"/>
              </a:ext>
            </a:extLst>
          </p:cNvPr>
          <p:cNvSpPr/>
          <p:nvPr/>
        </p:nvSpPr>
        <p:spPr>
          <a:xfrm>
            <a:off x="-1" y="5195234"/>
            <a:ext cx="1112255" cy="3658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Скорость движения воздуха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4" name="Прямоугольник 263">
            <a:extLst>
              <a:ext uri="{FF2B5EF4-FFF2-40B4-BE49-F238E27FC236}">
                <a16:creationId xmlns:a16="http://schemas.microsoft.com/office/drawing/2014/main" id="{81CDA86F-5BA8-1402-FC37-7AE5E5E4118F}"/>
              </a:ext>
            </a:extLst>
          </p:cNvPr>
          <p:cNvSpPr/>
          <p:nvPr/>
        </p:nvSpPr>
        <p:spPr>
          <a:xfrm>
            <a:off x="-3046" y="5606271"/>
            <a:ext cx="1112254" cy="295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Интенсивность теплового излучения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9" name="Левая круглая скобка 268">
            <a:extLst>
              <a:ext uri="{FF2B5EF4-FFF2-40B4-BE49-F238E27FC236}">
                <a16:creationId xmlns:a16="http://schemas.microsoft.com/office/drawing/2014/main" id="{4D7B501E-9442-0E36-CE93-34CDE7499DCB}"/>
              </a:ext>
            </a:extLst>
          </p:cNvPr>
          <p:cNvSpPr/>
          <p:nvPr/>
        </p:nvSpPr>
        <p:spPr>
          <a:xfrm rot="16200000">
            <a:off x="1643962" y="4006223"/>
            <a:ext cx="127804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70" name="Прямая соединительная линия 269">
            <a:extLst>
              <a:ext uri="{FF2B5EF4-FFF2-40B4-BE49-F238E27FC236}">
                <a16:creationId xmlns:a16="http://schemas.microsoft.com/office/drawing/2014/main" id="{FA5666A9-C768-C224-610E-8E80E1014919}"/>
              </a:ext>
            </a:extLst>
          </p:cNvPr>
          <p:cNvCxnSpPr>
            <a:cxnSpLocks/>
          </p:cNvCxnSpPr>
          <p:nvPr/>
        </p:nvCxnSpPr>
        <p:spPr>
          <a:xfrm flipV="1">
            <a:off x="2703961" y="4385729"/>
            <a:ext cx="0" cy="714732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71" name="Левая круглая скобка 270">
            <a:extLst>
              <a:ext uri="{FF2B5EF4-FFF2-40B4-BE49-F238E27FC236}">
                <a16:creationId xmlns:a16="http://schemas.microsoft.com/office/drawing/2014/main" id="{D1F94D75-97B4-5C00-2F2D-824D5DDF87B6}"/>
              </a:ext>
            </a:extLst>
          </p:cNvPr>
          <p:cNvSpPr/>
          <p:nvPr/>
        </p:nvSpPr>
        <p:spPr>
          <a:xfrm rot="16200000">
            <a:off x="2651166" y="4014880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2" name="Прямоугольник 271">
            <a:extLst>
              <a:ext uri="{FF2B5EF4-FFF2-40B4-BE49-F238E27FC236}">
                <a16:creationId xmlns:a16="http://schemas.microsoft.com/office/drawing/2014/main" id="{68BC0EAA-1ECF-59A7-7C66-E6FCF7CD75C2}"/>
              </a:ext>
            </a:extLst>
          </p:cNvPr>
          <p:cNvSpPr/>
          <p:nvPr/>
        </p:nvSpPr>
        <p:spPr>
          <a:xfrm>
            <a:off x="2252879" y="4630618"/>
            <a:ext cx="942384" cy="2711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Охлаждающий микроклимат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73" name="Прямая соединительная линия 272">
            <a:extLst>
              <a:ext uri="{FF2B5EF4-FFF2-40B4-BE49-F238E27FC236}">
                <a16:creationId xmlns:a16="http://schemas.microsoft.com/office/drawing/2014/main" id="{AF152CA8-EE1F-E1E0-E167-88C508889F8A}"/>
              </a:ext>
            </a:extLst>
          </p:cNvPr>
          <p:cNvCxnSpPr>
            <a:cxnSpLocks/>
          </p:cNvCxnSpPr>
          <p:nvPr/>
        </p:nvCxnSpPr>
        <p:spPr>
          <a:xfrm flipV="1">
            <a:off x="3919973" y="4374007"/>
            <a:ext cx="0" cy="720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74" name="Левая круглая скобка 273">
            <a:extLst>
              <a:ext uri="{FF2B5EF4-FFF2-40B4-BE49-F238E27FC236}">
                <a16:creationId xmlns:a16="http://schemas.microsoft.com/office/drawing/2014/main" id="{349D4993-7755-713C-33DF-6236DAACA2B2}"/>
              </a:ext>
            </a:extLst>
          </p:cNvPr>
          <p:cNvSpPr/>
          <p:nvPr/>
        </p:nvSpPr>
        <p:spPr>
          <a:xfrm rot="16200000">
            <a:off x="3859655" y="4006223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5" name="Прямоугольник 274">
            <a:extLst>
              <a:ext uri="{FF2B5EF4-FFF2-40B4-BE49-F238E27FC236}">
                <a16:creationId xmlns:a16="http://schemas.microsoft.com/office/drawing/2014/main" id="{20454A6A-018A-89C2-CA5A-B45869F1BA8D}"/>
              </a:ext>
            </a:extLst>
          </p:cNvPr>
          <p:cNvSpPr/>
          <p:nvPr/>
        </p:nvSpPr>
        <p:spPr>
          <a:xfrm>
            <a:off x="3455066" y="4592441"/>
            <a:ext cx="826528" cy="3318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Температура воздуха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76" name="Прямая соединительная линия 275">
            <a:extLst>
              <a:ext uri="{FF2B5EF4-FFF2-40B4-BE49-F238E27FC236}">
                <a16:creationId xmlns:a16="http://schemas.microsoft.com/office/drawing/2014/main" id="{92834B3F-F07C-7DDC-E7A6-F1D3F93E7F57}"/>
              </a:ext>
            </a:extLst>
          </p:cNvPr>
          <p:cNvCxnSpPr>
            <a:cxnSpLocks/>
          </p:cNvCxnSpPr>
          <p:nvPr/>
        </p:nvCxnSpPr>
        <p:spPr>
          <a:xfrm flipV="1">
            <a:off x="1727701" y="4374302"/>
            <a:ext cx="0" cy="714732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77" name="Прямоугольник 276">
            <a:extLst>
              <a:ext uri="{FF2B5EF4-FFF2-40B4-BE49-F238E27FC236}">
                <a16:creationId xmlns:a16="http://schemas.microsoft.com/office/drawing/2014/main" id="{B5BECC8D-3DA2-0AC9-8D1F-419171058032}"/>
              </a:ext>
            </a:extLst>
          </p:cNvPr>
          <p:cNvSpPr/>
          <p:nvPr/>
        </p:nvSpPr>
        <p:spPr>
          <a:xfrm>
            <a:off x="1287890" y="4615952"/>
            <a:ext cx="894664" cy="2711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Нагревающий микроклимат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0" name="Прямоугольник 279">
            <a:extLst>
              <a:ext uri="{FF2B5EF4-FFF2-40B4-BE49-F238E27FC236}">
                <a16:creationId xmlns:a16="http://schemas.microsoft.com/office/drawing/2014/main" id="{9559B813-5897-3FB4-6041-6D6BF3588B55}"/>
              </a:ext>
            </a:extLst>
          </p:cNvPr>
          <p:cNvSpPr/>
          <p:nvPr/>
        </p:nvSpPr>
        <p:spPr>
          <a:xfrm>
            <a:off x="-7186" y="5946478"/>
            <a:ext cx="1112251" cy="3658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Экспозиционная доза теплового излучения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5" name="Прямоугольник 284">
            <a:extLst>
              <a:ext uri="{FF2B5EF4-FFF2-40B4-BE49-F238E27FC236}">
                <a16:creationId xmlns:a16="http://schemas.microsoft.com/office/drawing/2014/main" id="{554558AA-B497-0826-207A-882B0D9BE744}"/>
              </a:ext>
            </a:extLst>
          </p:cNvPr>
          <p:cNvSpPr/>
          <p:nvPr/>
        </p:nvSpPr>
        <p:spPr>
          <a:xfrm>
            <a:off x="4678082" y="5234412"/>
            <a:ext cx="877426" cy="3737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Энерги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эл-магнитного излучения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9" name="Прямоугольник 288">
            <a:extLst>
              <a:ext uri="{FF2B5EF4-FFF2-40B4-BE49-F238E27FC236}">
                <a16:creationId xmlns:a16="http://schemas.microsoft.com/office/drawing/2014/main" id="{68886CE4-2A15-6D35-7585-B6D4ACB2EB17}"/>
              </a:ext>
            </a:extLst>
          </p:cNvPr>
          <p:cNvSpPr/>
          <p:nvPr/>
        </p:nvSpPr>
        <p:spPr>
          <a:xfrm>
            <a:off x="0" y="6368250"/>
            <a:ext cx="1108342" cy="295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Инфразвук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638F9A33-DB06-F650-0008-ABBAD6D46A9D}"/>
              </a:ext>
            </a:extLst>
          </p:cNvPr>
          <p:cNvSpPr txBox="1"/>
          <p:nvPr/>
        </p:nvSpPr>
        <p:spPr>
          <a:xfrm>
            <a:off x="3183786" y="5206690"/>
            <a:ext cx="1115301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Производственный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шум</a:t>
            </a:r>
          </a:p>
        </p:txBody>
      </p:sp>
      <p:sp>
        <p:nvSpPr>
          <p:cNvPr id="296" name="Прямоугольник 295">
            <a:extLst>
              <a:ext uri="{FF2B5EF4-FFF2-40B4-BE49-F238E27FC236}">
                <a16:creationId xmlns:a16="http://schemas.microsoft.com/office/drawing/2014/main" id="{76EE9594-AA04-863D-A1A6-5023256E7AF4}"/>
              </a:ext>
            </a:extLst>
          </p:cNvPr>
          <p:cNvSpPr/>
          <p:nvPr/>
        </p:nvSpPr>
        <p:spPr>
          <a:xfrm>
            <a:off x="-3046" y="4857799"/>
            <a:ext cx="1115301" cy="295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Относительная влажность воздуха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7" name="Прямоугольник 296">
            <a:extLst>
              <a:ext uri="{FF2B5EF4-FFF2-40B4-BE49-F238E27FC236}">
                <a16:creationId xmlns:a16="http://schemas.microsoft.com/office/drawing/2014/main" id="{A283E6EC-2813-9103-5DFA-7DE2BE84AAD5}"/>
              </a:ext>
            </a:extLst>
          </p:cNvPr>
          <p:cNvSpPr/>
          <p:nvPr/>
        </p:nvSpPr>
        <p:spPr>
          <a:xfrm>
            <a:off x="3790062" y="6211227"/>
            <a:ext cx="1117287" cy="3265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Энерги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ионизирующего излучения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00" name="Прямая соединительная линия 299">
            <a:extLst>
              <a:ext uri="{FF2B5EF4-FFF2-40B4-BE49-F238E27FC236}">
                <a16:creationId xmlns:a16="http://schemas.microsoft.com/office/drawing/2014/main" id="{B9D54663-61D1-75C9-A398-F25274F107CB}"/>
              </a:ext>
            </a:extLst>
          </p:cNvPr>
          <p:cNvCxnSpPr>
            <a:cxnSpLocks/>
          </p:cNvCxnSpPr>
          <p:nvPr/>
        </p:nvCxnSpPr>
        <p:spPr>
          <a:xfrm>
            <a:off x="1100651" y="5739916"/>
            <a:ext cx="17009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02" name="Прямая соединительная линия 301">
            <a:extLst>
              <a:ext uri="{FF2B5EF4-FFF2-40B4-BE49-F238E27FC236}">
                <a16:creationId xmlns:a16="http://schemas.microsoft.com/office/drawing/2014/main" id="{29F7CAC9-8806-D27B-FC38-9500B3B9870B}"/>
              </a:ext>
            </a:extLst>
          </p:cNvPr>
          <p:cNvCxnSpPr>
            <a:cxnSpLocks/>
          </p:cNvCxnSpPr>
          <p:nvPr/>
        </p:nvCxnSpPr>
        <p:spPr>
          <a:xfrm>
            <a:off x="1092180" y="6137858"/>
            <a:ext cx="17009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03" name="Левая круглая скобка 302">
            <a:extLst>
              <a:ext uri="{FF2B5EF4-FFF2-40B4-BE49-F238E27FC236}">
                <a16:creationId xmlns:a16="http://schemas.microsoft.com/office/drawing/2014/main" id="{48C0CA67-3584-6109-9A8D-A45BF3106DA0}"/>
              </a:ext>
            </a:extLst>
          </p:cNvPr>
          <p:cNvSpPr/>
          <p:nvPr/>
        </p:nvSpPr>
        <p:spPr>
          <a:xfrm rot="5400000" flipV="1">
            <a:off x="1977105" y="5534967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04" name="Прямая соединительная линия 303">
            <a:extLst>
              <a:ext uri="{FF2B5EF4-FFF2-40B4-BE49-F238E27FC236}">
                <a16:creationId xmlns:a16="http://schemas.microsoft.com/office/drawing/2014/main" id="{8B6B62ED-E2E7-A1B1-9E91-2B831AF09B51}"/>
              </a:ext>
            </a:extLst>
          </p:cNvPr>
          <p:cNvCxnSpPr>
            <a:cxnSpLocks/>
          </p:cNvCxnSpPr>
          <p:nvPr/>
        </p:nvCxnSpPr>
        <p:spPr>
          <a:xfrm flipV="1">
            <a:off x="2050627" y="5134967"/>
            <a:ext cx="0" cy="648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93" name="TextBox 292">
            <a:extLst>
              <a:ext uri="{FF2B5EF4-FFF2-40B4-BE49-F238E27FC236}">
                <a16:creationId xmlns:a16="http://schemas.microsoft.com/office/drawing/2014/main" id="{CC0ABEA1-B778-0422-6482-8DF35288B6B3}"/>
              </a:ext>
            </a:extLst>
          </p:cNvPr>
          <p:cNvSpPr txBox="1"/>
          <p:nvPr/>
        </p:nvSpPr>
        <p:spPr>
          <a:xfrm>
            <a:off x="1744650" y="5251995"/>
            <a:ext cx="636995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Световая среда </a:t>
            </a:r>
          </a:p>
        </p:txBody>
      </p:sp>
      <p:sp>
        <p:nvSpPr>
          <p:cNvPr id="305" name="Левая круглая скобка 304">
            <a:extLst>
              <a:ext uri="{FF2B5EF4-FFF2-40B4-BE49-F238E27FC236}">
                <a16:creationId xmlns:a16="http://schemas.microsoft.com/office/drawing/2014/main" id="{CD15A81B-01A2-189A-D73F-3AC6EBFB5B0B}"/>
              </a:ext>
            </a:extLst>
          </p:cNvPr>
          <p:cNvSpPr/>
          <p:nvPr/>
        </p:nvSpPr>
        <p:spPr>
          <a:xfrm rot="5400000" flipV="1">
            <a:off x="2776297" y="5752886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06" name="Прямая соединительная линия 305">
            <a:extLst>
              <a:ext uri="{FF2B5EF4-FFF2-40B4-BE49-F238E27FC236}">
                <a16:creationId xmlns:a16="http://schemas.microsoft.com/office/drawing/2014/main" id="{C7B0E5DA-E688-7273-94D7-3062F5AEFD2D}"/>
              </a:ext>
            </a:extLst>
          </p:cNvPr>
          <p:cNvCxnSpPr>
            <a:cxnSpLocks/>
          </p:cNvCxnSpPr>
          <p:nvPr/>
        </p:nvCxnSpPr>
        <p:spPr>
          <a:xfrm flipV="1">
            <a:off x="2845002" y="5125882"/>
            <a:ext cx="0" cy="864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81" name="Прямоугольник 280">
            <a:extLst>
              <a:ext uri="{FF2B5EF4-FFF2-40B4-BE49-F238E27FC236}">
                <a16:creationId xmlns:a16="http://schemas.microsoft.com/office/drawing/2014/main" id="{A39B78B3-172A-4794-E157-5E1438CD0294}"/>
              </a:ext>
            </a:extLst>
          </p:cNvPr>
          <p:cNvSpPr/>
          <p:nvPr/>
        </p:nvSpPr>
        <p:spPr>
          <a:xfrm>
            <a:off x="2385121" y="5615521"/>
            <a:ext cx="1115301" cy="295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Неионизирующие эл-магнитные поля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08" name="Прямая соединительная линия 307">
            <a:extLst>
              <a:ext uri="{FF2B5EF4-FFF2-40B4-BE49-F238E27FC236}">
                <a16:creationId xmlns:a16="http://schemas.microsoft.com/office/drawing/2014/main" id="{2B5B0426-3823-F35E-BA6D-BDA7B720493A}"/>
              </a:ext>
            </a:extLst>
          </p:cNvPr>
          <p:cNvCxnSpPr>
            <a:cxnSpLocks/>
          </p:cNvCxnSpPr>
          <p:nvPr/>
        </p:nvCxnSpPr>
        <p:spPr>
          <a:xfrm flipV="1">
            <a:off x="4833103" y="4382999"/>
            <a:ext cx="0" cy="720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09" name="Левая круглая скобка 308">
            <a:extLst>
              <a:ext uri="{FF2B5EF4-FFF2-40B4-BE49-F238E27FC236}">
                <a16:creationId xmlns:a16="http://schemas.microsoft.com/office/drawing/2014/main" id="{188430C7-312F-807D-FC4A-509B406C7842}"/>
              </a:ext>
            </a:extLst>
          </p:cNvPr>
          <p:cNvSpPr/>
          <p:nvPr/>
        </p:nvSpPr>
        <p:spPr>
          <a:xfrm rot="16200000">
            <a:off x="4772785" y="4015215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8" name="Прямоугольник 297">
            <a:extLst>
              <a:ext uri="{FF2B5EF4-FFF2-40B4-BE49-F238E27FC236}">
                <a16:creationId xmlns:a16="http://schemas.microsoft.com/office/drawing/2014/main" id="{DBA8DD15-2A47-5826-1F5F-828421085F0B}"/>
              </a:ext>
            </a:extLst>
          </p:cNvPr>
          <p:cNvSpPr/>
          <p:nvPr/>
        </p:nvSpPr>
        <p:spPr>
          <a:xfrm>
            <a:off x="4458685" y="4660992"/>
            <a:ext cx="772180" cy="1968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Вибрация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2" name="Левая круглая скобка 311">
            <a:extLst>
              <a:ext uri="{FF2B5EF4-FFF2-40B4-BE49-F238E27FC236}">
                <a16:creationId xmlns:a16="http://schemas.microsoft.com/office/drawing/2014/main" id="{BFAEF993-5724-C42D-065F-8A258EDA4DCB}"/>
              </a:ext>
            </a:extLst>
          </p:cNvPr>
          <p:cNvSpPr/>
          <p:nvPr/>
        </p:nvSpPr>
        <p:spPr>
          <a:xfrm rot="5400000" flipV="1">
            <a:off x="3655725" y="5735547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3" name="Левая круглая скобка 312">
            <a:extLst>
              <a:ext uri="{FF2B5EF4-FFF2-40B4-BE49-F238E27FC236}">
                <a16:creationId xmlns:a16="http://schemas.microsoft.com/office/drawing/2014/main" id="{F35C90A5-6966-4789-ADB3-1F80813F44D5}"/>
              </a:ext>
            </a:extLst>
          </p:cNvPr>
          <p:cNvSpPr/>
          <p:nvPr/>
        </p:nvSpPr>
        <p:spPr>
          <a:xfrm rot="5400000" flipV="1">
            <a:off x="5043405" y="5744200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5" name="Левая круглая скобка 314">
            <a:extLst>
              <a:ext uri="{FF2B5EF4-FFF2-40B4-BE49-F238E27FC236}">
                <a16:creationId xmlns:a16="http://schemas.microsoft.com/office/drawing/2014/main" id="{513438CF-469B-6B23-7C62-A53503F9B75A}"/>
              </a:ext>
            </a:extLst>
          </p:cNvPr>
          <p:cNvSpPr/>
          <p:nvPr/>
        </p:nvSpPr>
        <p:spPr>
          <a:xfrm rot="5400000" flipV="1">
            <a:off x="4350901" y="6379566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16" name="Прямая соединительная линия 315">
            <a:extLst>
              <a:ext uri="{FF2B5EF4-FFF2-40B4-BE49-F238E27FC236}">
                <a16:creationId xmlns:a16="http://schemas.microsoft.com/office/drawing/2014/main" id="{836070CC-2979-9873-4E86-7B42C206256E}"/>
              </a:ext>
            </a:extLst>
          </p:cNvPr>
          <p:cNvCxnSpPr>
            <a:cxnSpLocks/>
          </p:cNvCxnSpPr>
          <p:nvPr/>
        </p:nvCxnSpPr>
        <p:spPr>
          <a:xfrm flipV="1">
            <a:off x="1632868" y="5128138"/>
            <a:ext cx="0" cy="1512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18" name="Левая круглая скобка 317">
            <a:extLst>
              <a:ext uri="{FF2B5EF4-FFF2-40B4-BE49-F238E27FC236}">
                <a16:creationId xmlns:a16="http://schemas.microsoft.com/office/drawing/2014/main" id="{EDF67393-7635-340F-A461-6415AD7E36C4}"/>
              </a:ext>
            </a:extLst>
          </p:cNvPr>
          <p:cNvSpPr/>
          <p:nvPr/>
        </p:nvSpPr>
        <p:spPr>
          <a:xfrm rot="5400000" flipV="1">
            <a:off x="1558411" y="6390475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6" name="Прямоугольник 285">
            <a:extLst>
              <a:ext uri="{FF2B5EF4-FFF2-40B4-BE49-F238E27FC236}">
                <a16:creationId xmlns:a16="http://schemas.microsoft.com/office/drawing/2014/main" id="{6B50473E-467B-BDEC-3794-8AF5A23A825E}"/>
              </a:ext>
            </a:extLst>
          </p:cNvPr>
          <p:cNvSpPr/>
          <p:nvPr/>
        </p:nvSpPr>
        <p:spPr>
          <a:xfrm>
            <a:off x="1332014" y="6290543"/>
            <a:ext cx="743864" cy="2319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Ультразвук</a:t>
            </a:r>
          </a:p>
        </p:txBody>
      </p:sp>
      <p:sp>
        <p:nvSpPr>
          <p:cNvPr id="320" name="Прямоугольник 319">
            <a:extLst>
              <a:ext uri="{FF2B5EF4-FFF2-40B4-BE49-F238E27FC236}">
                <a16:creationId xmlns:a16="http://schemas.microsoft.com/office/drawing/2014/main" id="{82A80616-1B71-188D-5245-DFE1095EEBA3}"/>
              </a:ext>
            </a:extLst>
          </p:cNvPr>
          <p:cNvSpPr/>
          <p:nvPr/>
        </p:nvSpPr>
        <p:spPr>
          <a:xfrm>
            <a:off x="1114041" y="4167741"/>
            <a:ext cx="613280" cy="97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1.1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1" name="Прямоугольник 320">
            <a:extLst>
              <a:ext uri="{FF2B5EF4-FFF2-40B4-BE49-F238E27FC236}">
                <a16:creationId xmlns:a16="http://schemas.microsoft.com/office/drawing/2014/main" id="{45FB83A6-41A7-D3C1-8307-212048E318FC}"/>
              </a:ext>
            </a:extLst>
          </p:cNvPr>
          <p:cNvSpPr/>
          <p:nvPr/>
        </p:nvSpPr>
        <p:spPr>
          <a:xfrm>
            <a:off x="1712458" y="4161716"/>
            <a:ext cx="613280" cy="97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1.1.5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2" name="Прямоугольник 321">
            <a:extLst>
              <a:ext uri="{FF2B5EF4-FFF2-40B4-BE49-F238E27FC236}">
                <a16:creationId xmlns:a16="http://schemas.microsoft.com/office/drawing/2014/main" id="{65B1C438-99BF-D675-F67F-2D49C3D08245}"/>
              </a:ext>
            </a:extLst>
          </p:cNvPr>
          <p:cNvSpPr/>
          <p:nvPr/>
        </p:nvSpPr>
        <p:spPr>
          <a:xfrm>
            <a:off x="2208341" y="4179376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2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4" name="Прямоугольник 323">
            <a:extLst>
              <a:ext uri="{FF2B5EF4-FFF2-40B4-BE49-F238E27FC236}">
                <a16:creationId xmlns:a16="http://schemas.microsoft.com/office/drawing/2014/main" id="{593C819B-2E80-FA8C-5917-E8E4DDFE3B72}"/>
              </a:ext>
            </a:extLst>
          </p:cNvPr>
          <p:cNvSpPr/>
          <p:nvPr/>
        </p:nvSpPr>
        <p:spPr>
          <a:xfrm>
            <a:off x="2812344" y="4161733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2.5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5" name="Прямоугольник 324">
            <a:extLst>
              <a:ext uri="{FF2B5EF4-FFF2-40B4-BE49-F238E27FC236}">
                <a16:creationId xmlns:a16="http://schemas.microsoft.com/office/drawing/2014/main" id="{84D8E7B0-47EE-6BDE-A32C-63B5567C74E8}"/>
              </a:ext>
            </a:extLst>
          </p:cNvPr>
          <p:cNvSpPr/>
          <p:nvPr/>
        </p:nvSpPr>
        <p:spPr>
          <a:xfrm>
            <a:off x="3415299" y="4160867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3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6" name="Прямоугольник 325">
            <a:extLst>
              <a:ext uri="{FF2B5EF4-FFF2-40B4-BE49-F238E27FC236}">
                <a16:creationId xmlns:a16="http://schemas.microsoft.com/office/drawing/2014/main" id="{6DBF1FE4-FD35-44B1-EC6E-75B33FF3ED27}"/>
              </a:ext>
            </a:extLst>
          </p:cNvPr>
          <p:cNvSpPr/>
          <p:nvPr/>
        </p:nvSpPr>
        <p:spPr>
          <a:xfrm>
            <a:off x="4018254" y="4161631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3.4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7" name="Прямоугольник 326">
            <a:extLst>
              <a:ext uri="{FF2B5EF4-FFF2-40B4-BE49-F238E27FC236}">
                <a16:creationId xmlns:a16="http://schemas.microsoft.com/office/drawing/2014/main" id="{6BDAA1D7-93E7-F9D9-0E38-D5E578CC0931}"/>
              </a:ext>
            </a:extLst>
          </p:cNvPr>
          <p:cNvSpPr/>
          <p:nvPr/>
        </p:nvSpPr>
        <p:spPr>
          <a:xfrm>
            <a:off x="4344803" y="4179069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14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8" name="Прямоугольник 327">
            <a:extLst>
              <a:ext uri="{FF2B5EF4-FFF2-40B4-BE49-F238E27FC236}">
                <a16:creationId xmlns:a16="http://schemas.microsoft.com/office/drawing/2014/main" id="{B7603834-7BC8-609F-AB2D-126B06058C10}"/>
              </a:ext>
            </a:extLst>
          </p:cNvPr>
          <p:cNvSpPr/>
          <p:nvPr/>
        </p:nvSpPr>
        <p:spPr>
          <a:xfrm>
            <a:off x="4948806" y="4173150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14.2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9" name="Прямоугольник 328">
            <a:extLst>
              <a:ext uri="{FF2B5EF4-FFF2-40B4-BE49-F238E27FC236}">
                <a16:creationId xmlns:a16="http://schemas.microsoft.com/office/drawing/2014/main" id="{F07B719D-5E87-DD0C-E834-E0F1A15132D6}"/>
              </a:ext>
            </a:extLst>
          </p:cNvPr>
          <p:cNvSpPr/>
          <p:nvPr/>
        </p:nvSpPr>
        <p:spPr>
          <a:xfrm>
            <a:off x="1541167" y="5916584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15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0" name="Прямоугольник 329">
            <a:extLst>
              <a:ext uri="{FF2B5EF4-FFF2-40B4-BE49-F238E27FC236}">
                <a16:creationId xmlns:a16="http://schemas.microsoft.com/office/drawing/2014/main" id="{15FF1935-E893-B699-EA9A-8BFFE6AA38E2}"/>
              </a:ext>
            </a:extLst>
          </p:cNvPr>
          <p:cNvSpPr/>
          <p:nvPr/>
        </p:nvSpPr>
        <p:spPr>
          <a:xfrm>
            <a:off x="2115760" y="5901284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15.3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1" name="Прямоугольник 330">
            <a:extLst>
              <a:ext uri="{FF2B5EF4-FFF2-40B4-BE49-F238E27FC236}">
                <a16:creationId xmlns:a16="http://schemas.microsoft.com/office/drawing/2014/main" id="{1993DD79-5C8F-9CBF-D411-3DB61E8049C7}"/>
              </a:ext>
            </a:extLst>
          </p:cNvPr>
          <p:cNvSpPr/>
          <p:nvPr/>
        </p:nvSpPr>
        <p:spPr>
          <a:xfrm>
            <a:off x="2312886" y="6115180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8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2" name="Прямоугольник 331">
            <a:extLst>
              <a:ext uri="{FF2B5EF4-FFF2-40B4-BE49-F238E27FC236}">
                <a16:creationId xmlns:a16="http://schemas.microsoft.com/office/drawing/2014/main" id="{D1918FE0-2813-FCE6-9E0B-71F2757A3617}"/>
              </a:ext>
            </a:extLst>
          </p:cNvPr>
          <p:cNvSpPr/>
          <p:nvPr/>
        </p:nvSpPr>
        <p:spPr>
          <a:xfrm>
            <a:off x="2916889" y="6109261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8.8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3" name="Прямоугольник 332">
            <a:extLst>
              <a:ext uri="{FF2B5EF4-FFF2-40B4-BE49-F238E27FC236}">
                <a16:creationId xmlns:a16="http://schemas.microsoft.com/office/drawing/2014/main" id="{CADBF9AA-E3E4-BC2A-1701-014844C9DF0C}"/>
              </a:ext>
            </a:extLst>
          </p:cNvPr>
          <p:cNvSpPr/>
          <p:nvPr/>
        </p:nvSpPr>
        <p:spPr>
          <a:xfrm>
            <a:off x="3898333" y="6750138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10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4" name="Прямоугольник 333">
            <a:extLst>
              <a:ext uri="{FF2B5EF4-FFF2-40B4-BE49-F238E27FC236}">
                <a16:creationId xmlns:a16="http://schemas.microsoft.com/office/drawing/2014/main" id="{371E394E-E2B6-4549-64FC-67019EB36D10}"/>
              </a:ext>
            </a:extLst>
          </p:cNvPr>
          <p:cNvSpPr/>
          <p:nvPr/>
        </p:nvSpPr>
        <p:spPr>
          <a:xfrm>
            <a:off x="4502336" y="6744219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10.2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5" name="Прямоугольник 334">
            <a:extLst>
              <a:ext uri="{FF2B5EF4-FFF2-40B4-BE49-F238E27FC236}">
                <a16:creationId xmlns:a16="http://schemas.microsoft.com/office/drawing/2014/main" id="{C7FC7C27-6B06-38FF-C329-0BF335313D2E}"/>
              </a:ext>
            </a:extLst>
          </p:cNvPr>
          <p:cNvSpPr/>
          <p:nvPr/>
        </p:nvSpPr>
        <p:spPr>
          <a:xfrm>
            <a:off x="4594733" y="6100175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9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6" name="Прямоугольник 335">
            <a:extLst>
              <a:ext uri="{FF2B5EF4-FFF2-40B4-BE49-F238E27FC236}">
                <a16:creationId xmlns:a16="http://schemas.microsoft.com/office/drawing/2014/main" id="{DD5F4B1B-2D4A-3922-7994-10B3BC60BD7C}"/>
              </a:ext>
            </a:extLst>
          </p:cNvPr>
          <p:cNvSpPr/>
          <p:nvPr/>
        </p:nvSpPr>
        <p:spPr>
          <a:xfrm>
            <a:off x="5198736" y="6094256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9.3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7" name="Прямоугольник 336">
            <a:extLst>
              <a:ext uri="{FF2B5EF4-FFF2-40B4-BE49-F238E27FC236}">
                <a16:creationId xmlns:a16="http://schemas.microsoft.com/office/drawing/2014/main" id="{9FA7FE2A-F0B1-13B6-A2F7-F79DBD02D173}"/>
              </a:ext>
            </a:extLst>
          </p:cNvPr>
          <p:cNvSpPr/>
          <p:nvPr/>
        </p:nvSpPr>
        <p:spPr>
          <a:xfrm>
            <a:off x="3217514" y="6094123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11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8" name="Прямоугольник 337">
            <a:extLst>
              <a:ext uri="{FF2B5EF4-FFF2-40B4-BE49-F238E27FC236}">
                <a16:creationId xmlns:a16="http://schemas.microsoft.com/office/drawing/2014/main" id="{DCD663B8-D843-E33E-DEB2-16315110B59A}"/>
              </a:ext>
            </a:extLst>
          </p:cNvPr>
          <p:cNvSpPr/>
          <p:nvPr/>
        </p:nvSpPr>
        <p:spPr>
          <a:xfrm>
            <a:off x="3821517" y="6088204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11.2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9" name="Прямоугольник 338">
            <a:extLst>
              <a:ext uri="{FF2B5EF4-FFF2-40B4-BE49-F238E27FC236}">
                <a16:creationId xmlns:a16="http://schemas.microsoft.com/office/drawing/2014/main" id="{89D2FB05-8911-8F9C-F6E8-B0766E3ED870}"/>
              </a:ext>
            </a:extLst>
          </p:cNvPr>
          <p:cNvSpPr/>
          <p:nvPr/>
        </p:nvSpPr>
        <p:spPr>
          <a:xfrm>
            <a:off x="1080062" y="6767606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12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0" name="Прямоугольник 339">
            <a:extLst>
              <a:ext uri="{FF2B5EF4-FFF2-40B4-BE49-F238E27FC236}">
                <a16:creationId xmlns:a16="http://schemas.microsoft.com/office/drawing/2014/main" id="{5D2AE122-AFE6-0E21-BF26-8A642199E0D6}"/>
              </a:ext>
            </a:extLst>
          </p:cNvPr>
          <p:cNvSpPr/>
          <p:nvPr/>
        </p:nvSpPr>
        <p:spPr>
          <a:xfrm>
            <a:off x="1684065" y="6761687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Ф.12.2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4" name="Прямоугольник 343">
            <a:extLst>
              <a:ext uri="{FF2B5EF4-FFF2-40B4-BE49-F238E27FC236}">
                <a16:creationId xmlns:a16="http://schemas.microsoft.com/office/drawing/2014/main" id="{BBBDE764-3F23-603E-00BD-B2ECF1F939A9}"/>
              </a:ext>
            </a:extLst>
          </p:cNvPr>
          <p:cNvSpPr/>
          <p:nvPr/>
        </p:nvSpPr>
        <p:spPr>
          <a:xfrm>
            <a:off x="1130386" y="1727267"/>
            <a:ext cx="403256" cy="79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2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5" name="Прямоугольник 344">
            <a:extLst>
              <a:ext uri="{FF2B5EF4-FFF2-40B4-BE49-F238E27FC236}">
                <a16:creationId xmlns:a16="http://schemas.microsoft.com/office/drawing/2014/main" id="{EB680A90-2DE6-4761-33F8-6A359CD2ED68}"/>
              </a:ext>
            </a:extLst>
          </p:cNvPr>
          <p:cNvSpPr/>
          <p:nvPr/>
        </p:nvSpPr>
        <p:spPr>
          <a:xfrm>
            <a:off x="1758335" y="1715686"/>
            <a:ext cx="369012" cy="902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2.2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8" name="Прямоугольник 347">
            <a:extLst>
              <a:ext uri="{FF2B5EF4-FFF2-40B4-BE49-F238E27FC236}">
                <a16:creationId xmlns:a16="http://schemas.microsoft.com/office/drawing/2014/main" id="{DB3EE3C8-D887-44B8-D46A-3934B96465A3}"/>
              </a:ext>
            </a:extLst>
          </p:cNvPr>
          <p:cNvSpPr/>
          <p:nvPr/>
        </p:nvSpPr>
        <p:spPr>
          <a:xfrm>
            <a:off x="3420724" y="981169"/>
            <a:ext cx="476307" cy="99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5.1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9" name="Прямоугольник 348">
            <a:extLst>
              <a:ext uri="{FF2B5EF4-FFF2-40B4-BE49-F238E27FC236}">
                <a16:creationId xmlns:a16="http://schemas.microsoft.com/office/drawing/2014/main" id="{CDB19741-3356-AC09-2581-ABCB017427B6}"/>
              </a:ext>
            </a:extLst>
          </p:cNvPr>
          <p:cNvSpPr/>
          <p:nvPr/>
        </p:nvSpPr>
        <p:spPr>
          <a:xfrm>
            <a:off x="3980643" y="976992"/>
            <a:ext cx="491985" cy="83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</a:t>
            </a: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5.1.46</a:t>
            </a:r>
          </a:p>
        </p:txBody>
      </p:sp>
      <p:sp>
        <p:nvSpPr>
          <p:cNvPr id="350" name="Прямоугольник 349">
            <a:extLst>
              <a:ext uri="{FF2B5EF4-FFF2-40B4-BE49-F238E27FC236}">
                <a16:creationId xmlns:a16="http://schemas.microsoft.com/office/drawing/2014/main" id="{64691D68-1A60-AC05-FE6E-B60E1CF38254}"/>
              </a:ext>
            </a:extLst>
          </p:cNvPr>
          <p:cNvSpPr/>
          <p:nvPr/>
        </p:nvSpPr>
        <p:spPr>
          <a:xfrm>
            <a:off x="4451537" y="968370"/>
            <a:ext cx="476307" cy="87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5.2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1" name="Прямоугольник 350">
            <a:extLst>
              <a:ext uri="{FF2B5EF4-FFF2-40B4-BE49-F238E27FC236}">
                <a16:creationId xmlns:a16="http://schemas.microsoft.com/office/drawing/2014/main" id="{18650A86-CF23-4AD9-7492-F6186DAD92E0}"/>
              </a:ext>
            </a:extLst>
          </p:cNvPr>
          <p:cNvSpPr/>
          <p:nvPr/>
        </p:nvSpPr>
        <p:spPr>
          <a:xfrm>
            <a:off x="5016492" y="977992"/>
            <a:ext cx="576454" cy="1022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5.2.130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2" name="Прямоугольник 351">
            <a:extLst>
              <a:ext uri="{FF2B5EF4-FFF2-40B4-BE49-F238E27FC236}">
                <a16:creationId xmlns:a16="http://schemas.microsoft.com/office/drawing/2014/main" id="{5CEB8E4F-0FE2-54B7-4F3C-817B0803EE3C}"/>
              </a:ext>
            </a:extLst>
          </p:cNvPr>
          <p:cNvSpPr/>
          <p:nvPr/>
        </p:nvSpPr>
        <p:spPr>
          <a:xfrm>
            <a:off x="5324770" y="1744588"/>
            <a:ext cx="403256" cy="79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6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3" name="Прямоугольник 352">
            <a:extLst>
              <a:ext uri="{FF2B5EF4-FFF2-40B4-BE49-F238E27FC236}">
                <a16:creationId xmlns:a16="http://schemas.microsoft.com/office/drawing/2014/main" id="{1707B2E3-B9DD-B90B-E7EF-361B7D0AC6BF}"/>
              </a:ext>
            </a:extLst>
          </p:cNvPr>
          <p:cNvSpPr/>
          <p:nvPr/>
        </p:nvSpPr>
        <p:spPr>
          <a:xfrm>
            <a:off x="5930789" y="1731242"/>
            <a:ext cx="453473" cy="97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6.20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4" name="Прямоугольник 353">
            <a:extLst>
              <a:ext uri="{FF2B5EF4-FFF2-40B4-BE49-F238E27FC236}">
                <a16:creationId xmlns:a16="http://schemas.microsoft.com/office/drawing/2014/main" id="{EB947D68-8449-2448-7022-83CD8271D3CB}"/>
              </a:ext>
            </a:extLst>
          </p:cNvPr>
          <p:cNvSpPr/>
          <p:nvPr/>
        </p:nvSpPr>
        <p:spPr>
          <a:xfrm>
            <a:off x="6519113" y="1732897"/>
            <a:ext cx="403256" cy="79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7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5" name="Прямоугольник 354">
            <a:extLst>
              <a:ext uri="{FF2B5EF4-FFF2-40B4-BE49-F238E27FC236}">
                <a16:creationId xmlns:a16="http://schemas.microsoft.com/office/drawing/2014/main" id="{FA77D8BB-B937-B6E4-2E8E-61D127069271}"/>
              </a:ext>
            </a:extLst>
          </p:cNvPr>
          <p:cNvSpPr/>
          <p:nvPr/>
        </p:nvSpPr>
        <p:spPr>
          <a:xfrm>
            <a:off x="7125132" y="1719551"/>
            <a:ext cx="453473" cy="97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7.59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6" name="Прямоугольник 355">
            <a:extLst>
              <a:ext uri="{FF2B5EF4-FFF2-40B4-BE49-F238E27FC236}">
                <a16:creationId xmlns:a16="http://schemas.microsoft.com/office/drawing/2014/main" id="{0CCA3A23-118B-1367-9CE2-943125C55E61}"/>
              </a:ext>
            </a:extLst>
          </p:cNvPr>
          <p:cNvSpPr/>
          <p:nvPr/>
        </p:nvSpPr>
        <p:spPr>
          <a:xfrm>
            <a:off x="7221131" y="963328"/>
            <a:ext cx="486224" cy="694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8.1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7" name="Прямоугольник 356">
            <a:extLst>
              <a:ext uri="{FF2B5EF4-FFF2-40B4-BE49-F238E27FC236}">
                <a16:creationId xmlns:a16="http://schemas.microsoft.com/office/drawing/2014/main" id="{CB4292C1-54E9-CA07-228B-27185FBBC788}"/>
              </a:ext>
            </a:extLst>
          </p:cNvPr>
          <p:cNvSpPr/>
          <p:nvPr/>
        </p:nvSpPr>
        <p:spPr>
          <a:xfrm>
            <a:off x="7830083" y="951663"/>
            <a:ext cx="486224" cy="1206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8.1.45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8" name="Прямоугольник 357">
            <a:extLst>
              <a:ext uri="{FF2B5EF4-FFF2-40B4-BE49-F238E27FC236}">
                <a16:creationId xmlns:a16="http://schemas.microsoft.com/office/drawing/2014/main" id="{838A91C4-4737-FF6C-77B9-8EC284B7B3B4}"/>
              </a:ext>
            </a:extLst>
          </p:cNvPr>
          <p:cNvSpPr/>
          <p:nvPr/>
        </p:nvSpPr>
        <p:spPr>
          <a:xfrm>
            <a:off x="8291741" y="954544"/>
            <a:ext cx="403256" cy="79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2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9" name="Прямоугольник 358">
            <a:extLst>
              <a:ext uri="{FF2B5EF4-FFF2-40B4-BE49-F238E27FC236}">
                <a16:creationId xmlns:a16="http://schemas.microsoft.com/office/drawing/2014/main" id="{B5AC3176-1886-58D2-1EBA-EF7B35CDE361}"/>
              </a:ext>
            </a:extLst>
          </p:cNvPr>
          <p:cNvSpPr/>
          <p:nvPr/>
        </p:nvSpPr>
        <p:spPr>
          <a:xfrm>
            <a:off x="8897760" y="941198"/>
            <a:ext cx="453473" cy="97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2.146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0" name="Прямоугольник 359">
            <a:extLst>
              <a:ext uri="{FF2B5EF4-FFF2-40B4-BE49-F238E27FC236}">
                <a16:creationId xmlns:a16="http://schemas.microsoft.com/office/drawing/2014/main" id="{2D48206F-8FFF-050F-EE98-4AE27422D2E8}"/>
              </a:ext>
            </a:extLst>
          </p:cNvPr>
          <p:cNvSpPr/>
          <p:nvPr/>
        </p:nvSpPr>
        <p:spPr>
          <a:xfrm>
            <a:off x="8854879" y="1710096"/>
            <a:ext cx="453472" cy="780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9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1" name="Прямоугольник 360">
            <a:extLst>
              <a:ext uri="{FF2B5EF4-FFF2-40B4-BE49-F238E27FC236}">
                <a16:creationId xmlns:a16="http://schemas.microsoft.com/office/drawing/2014/main" id="{4CC1C47A-C8CC-7DF2-1AE6-CBA0259B7E49}"/>
              </a:ext>
            </a:extLst>
          </p:cNvPr>
          <p:cNvSpPr/>
          <p:nvPr/>
        </p:nvSpPr>
        <p:spPr>
          <a:xfrm>
            <a:off x="9460898" y="1706274"/>
            <a:ext cx="453473" cy="97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9.9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2" name="Прямоугольник 361">
            <a:extLst>
              <a:ext uri="{FF2B5EF4-FFF2-40B4-BE49-F238E27FC236}">
                <a16:creationId xmlns:a16="http://schemas.microsoft.com/office/drawing/2014/main" id="{60BE5362-3FF3-3113-F9D9-AD96C9D0F9A6}"/>
              </a:ext>
            </a:extLst>
          </p:cNvPr>
          <p:cNvSpPr/>
          <p:nvPr/>
        </p:nvSpPr>
        <p:spPr>
          <a:xfrm>
            <a:off x="11321777" y="957462"/>
            <a:ext cx="613280" cy="97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11.2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3" name="Прямоугольник 362">
            <a:extLst>
              <a:ext uri="{FF2B5EF4-FFF2-40B4-BE49-F238E27FC236}">
                <a16:creationId xmlns:a16="http://schemas.microsoft.com/office/drawing/2014/main" id="{026E5D05-292D-BD59-672E-3D58359A3E2B}"/>
              </a:ext>
            </a:extLst>
          </p:cNvPr>
          <p:cNvSpPr/>
          <p:nvPr/>
        </p:nvSpPr>
        <p:spPr>
          <a:xfrm>
            <a:off x="11748212" y="950952"/>
            <a:ext cx="613280" cy="97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11.2.3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64" name="Прямая соединительная линия 363">
            <a:extLst>
              <a:ext uri="{FF2B5EF4-FFF2-40B4-BE49-F238E27FC236}">
                <a16:creationId xmlns:a16="http://schemas.microsoft.com/office/drawing/2014/main" id="{F716FD03-0762-5551-B255-066FE611DBC6}"/>
              </a:ext>
            </a:extLst>
          </p:cNvPr>
          <p:cNvCxnSpPr>
            <a:cxnSpLocks/>
          </p:cNvCxnSpPr>
          <p:nvPr/>
        </p:nvCxnSpPr>
        <p:spPr>
          <a:xfrm flipV="1">
            <a:off x="10301054" y="1952457"/>
            <a:ext cx="0" cy="100800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65" name="Прямоугольник 364">
            <a:extLst>
              <a:ext uri="{FF2B5EF4-FFF2-40B4-BE49-F238E27FC236}">
                <a16:creationId xmlns:a16="http://schemas.microsoft.com/office/drawing/2014/main" id="{A2902DB2-F0AB-0BAE-DB10-19AA4BAAFAA1}"/>
              </a:ext>
            </a:extLst>
          </p:cNvPr>
          <p:cNvSpPr/>
          <p:nvPr/>
        </p:nvSpPr>
        <p:spPr>
          <a:xfrm>
            <a:off x="9884900" y="2319526"/>
            <a:ext cx="1004967" cy="3686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Биологически высокоактивные вещества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6" name="Левая круглая скобка 365">
            <a:extLst>
              <a:ext uri="{FF2B5EF4-FFF2-40B4-BE49-F238E27FC236}">
                <a16:creationId xmlns:a16="http://schemas.microsoft.com/office/drawing/2014/main" id="{DDF6BBE1-C16F-E005-D7DE-9DA335ACCE00}"/>
              </a:ext>
            </a:extLst>
          </p:cNvPr>
          <p:cNvSpPr/>
          <p:nvPr/>
        </p:nvSpPr>
        <p:spPr>
          <a:xfrm rot="16200000">
            <a:off x="10230198" y="1572777"/>
            <a:ext cx="120635" cy="612000"/>
          </a:xfrm>
          <a:prstGeom prst="leftBracket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7" name="Прямоугольник 366">
            <a:extLst>
              <a:ext uri="{FF2B5EF4-FFF2-40B4-BE49-F238E27FC236}">
                <a16:creationId xmlns:a16="http://schemas.microsoft.com/office/drawing/2014/main" id="{0D57DADF-3594-D6DE-0416-2C01E3FD813F}"/>
              </a:ext>
            </a:extLst>
          </p:cNvPr>
          <p:cNvSpPr/>
          <p:nvPr/>
        </p:nvSpPr>
        <p:spPr>
          <a:xfrm>
            <a:off x="9759058" y="1725165"/>
            <a:ext cx="549598" cy="625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10.1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8" name="Прямоугольник 367">
            <a:extLst>
              <a:ext uri="{FF2B5EF4-FFF2-40B4-BE49-F238E27FC236}">
                <a16:creationId xmlns:a16="http://schemas.microsoft.com/office/drawing/2014/main" id="{00A79E43-5BAF-4B10-E661-B8A838DFA5FE}"/>
              </a:ext>
            </a:extLst>
          </p:cNvPr>
          <p:cNvSpPr/>
          <p:nvPr/>
        </p:nvSpPr>
        <p:spPr>
          <a:xfrm>
            <a:off x="10365077" y="1721342"/>
            <a:ext cx="553365" cy="1030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Х.10.1.79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4" name="Прямоугольник 373">
            <a:extLst>
              <a:ext uri="{FF2B5EF4-FFF2-40B4-BE49-F238E27FC236}">
                <a16:creationId xmlns:a16="http://schemas.microsoft.com/office/drawing/2014/main" id="{A6E3F0CD-2D16-8102-6EAB-5154B7F0A873}"/>
              </a:ext>
            </a:extLst>
          </p:cNvPr>
          <p:cNvSpPr/>
          <p:nvPr/>
        </p:nvSpPr>
        <p:spPr>
          <a:xfrm>
            <a:off x="253245" y="4359225"/>
            <a:ext cx="403256" cy="79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Б.1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5" name="Прямоугольник 374">
            <a:extLst>
              <a:ext uri="{FF2B5EF4-FFF2-40B4-BE49-F238E27FC236}">
                <a16:creationId xmlns:a16="http://schemas.microsoft.com/office/drawing/2014/main" id="{B8CEBAA5-02A1-0CA4-3BFD-1EF225CA6AD5}"/>
              </a:ext>
            </a:extLst>
          </p:cNvPr>
          <p:cNvSpPr/>
          <p:nvPr/>
        </p:nvSpPr>
        <p:spPr>
          <a:xfrm>
            <a:off x="852634" y="4346856"/>
            <a:ext cx="406637" cy="124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Б.1.5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8" name="Прямоугольник 377">
            <a:extLst>
              <a:ext uri="{FF2B5EF4-FFF2-40B4-BE49-F238E27FC236}">
                <a16:creationId xmlns:a16="http://schemas.microsoft.com/office/drawing/2014/main" id="{B734DD36-E487-22C9-5716-06559A04455F}"/>
              </a:ext>
            </a:extLst>
          </p:cNvPr>
          <p:cNvSpPr/>
          <p:nvPr/>
        </p:nvSpPr>
        <p:spPr>
          <a:xfrm>
            <a:off x="5571807" y="4109088"/>
            <a:ext cx="403256" cy="79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9" name="Прямоугольник 378">
            <a:extLst>
              <a:ext uri="{FF2B5EF4-FFF2-40B4-BE49-F238E27FC236}">
                <a16:creationId xmlns:a16="http://schemas.microsoft.com/office/drawing/2014/main" id="{8EA7FCCA-3EB1-7AC5-5CAD-7E583A10DA9A}"/>
              </a:ext>
            </a:extLst>
          </p:cNvPr>
          <p:cNvSpPr/>
          <p:nvPr/>
        </p:nvSpPr>
        <p:spPr>
          <a:xfrm>
            <a:off x="6199756" y="4097507"/>
            <a:ext cx="369012" cy="902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М.4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0" name="Прямоугольник 379">
            <a:extLst>
              <a:ext uri="{FF2B5EF4-FFF2-40B4-BE49-F238E27FC236}">
                <a16:creationId xmlns:a16="http://schemas.microsoft.com/office/drawing/2014/main" id="{D70DD44B-FA12-20E8-592C-6D0BCB488F2E}"/>
              </a:ext>
            </a:extLst>
          </p:cNvPr>
          <p:cNvSpPr/>
          <p:nvPr/>
        </p:nvSpPr>
        <p:spPr>
          <a:xfrm>
            <a:off x="6505786" y="4134405"/>
            <a:ext cx="403256" cy="79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К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1" name="Прямоугольник 380">
            <a:extLst>
              <a:ext uri="{FF2B5EF4-FFF2-40B4-BE49-F238E27FC236}">
                <a16:creationId xmlns:a16="http://schemas.microsoft.com/office/drawing/2014/main" id="{06923FA3-7ABA-CBB0-F8DB-D4E54DC72C80}"/>
              </a:ext>
            </a:extLst>
          </p:cNvPr>
          <p:cNvSpPr/>
          <p:nvPr/>
        </p:nvSpPr>
        <p:spPr>
          <a:xfrm>
            <a:off x="7086713" y="4128273"/>
            <a:ext cx="475043" cy="101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К.12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2" name="Прямоугольник 381">
            <a:extLst>
              <a:ext uri="{FF2B5EF4-FFF2-40B4-BE49-F238E27FC236}">
                <a16:creationId xmlns:a16="http://schemas.microsoft.com/office/drawing/2014/main" id="{9806353D-92B6-2F27-35E6-46FD07968D3F}"/>
              </a:ext>
            </a:extLst>
          </p:cNvPr>
          <p:cNvSpPr/>
          <p:nvPr/>
        </p:nvSpPr>
        <p:spPr>
          <a:xfrm>
            <a:off x="7928141" y="4143335"/>
            <a:ext cx="403256" cy="79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СТ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3" name="Прямоугольник 382">
            <a:extLst>
              <a:ext uri="{FF2B5EF4-FFF2-40B4-BE49-F238E27FC236}">
                <a16:creationId xmlns:a16="http://schemas.microsoft.com/office/drawing/2014/main" id="{29590ED4-D12E-1249-80DE-F96596FD8D69}"/>
              </a:ext>
            </a:extLst>
          </p:cNvPr>
          <p:cNvSpPr/>
          <p:nvPr/>
        </p:nvSpPr>
        <p:spPr>
          <a:xfrm>
            <a:off x="8566310" y="4130922"/>
            <a:ext cx="369012" cy="902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СТ.6</a:t>
            </a:r>
          </a:p>
        </p:txBody>
      </p:sp>
      <p:sp>
        <p:nvSpPr>
          <p:cNvPr id="384" name="Прямоугольник 383">
            <a:extLst>
              <a:ext uri="{FF2B5EF4-FFF2-40B4-BE49-F238E27FC236}">
                <a16:creationId xmlns:a16="http://schemas.microsoft.com/office/drawing/2014/main" id="{3F9F45E2-8E2E-4D77-8801-AEFB39A6D926}"/>
              </a:ext>
            </a:extLst>
          </p:cNvPr>
          <p:cNvSpPr/>
          <p:nvPr/>
        </p:nvSpPr>
        <p:spPr>
          <a:xfrm>
            <a:off x="5688908" y="5894400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Э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5" name="Прямоугольник 384">
            <a:extLst>
              <a:ext uri="{FF2B5EF4-FFF2-40B4-BE49-F238E27FC236}">
                <a16:creationId xmlns:a16="http://schemas.microsoft.com/office/drawing/2014/main" id="{D56E057A-86CA-C30B-0245-54CB4AFA1B20}"/>
              </a:ext>
            </a:extLst>
          </p:cNvPr>
          <p:cNvSpPr/>
          <p:nvPr/>
        </p:nvSpPr>
        <p:spPr>
          <a:xfrm>
            <a:off x="6292911" y="5888481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Э.5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6" name="Прямоугольник 385">
            <a:extLst>
              <a:ext uri="{FF2B5EF4-FFF2-40B4-BE49-F238E27FC236}">
                <a16:creationId xmlns:a16="http://schemas.microsoft.com/office/drawing/2014/main" id="{6CF4F16E-6744-E2CC-3D47-28A55050977F}"/>
              </a:ext>
            </a:extLst>
          </p:cNvPr>
          <p:cNvSpPr/>
          <p:nvPr/>
        </p:nvSpPr>
        <p:spPr>
          <a:xfrm>
            <a:off x="6605517" y="5875877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Д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7" name="Прямоугольник 386">
            <a:extLst>
              <a:ext uri="{FF2B5EF4-FFF2-40B4-BE49-F238E27FC236}">
                <a16:creationId xmlns:a16="http://schemas.microsoft.com/office/drawing/2014/main" id="{C3E4AE3C-D2FB-D425-95F9-0FFBE9DDA7A7}"/>
              </a:ext>
            </a:extLst>
          </p:cNvPr>
          <p:cNvSpPr/>
          <p:nvPr/>
        </p:nvSpPr>
        <p:spPr>
          <a:xfrm>
            <a:off x="7191934" y="5875820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Д.5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8" name="Прямоугольник 387">
            <a:extLst>
              <a:ext uri="{FF2B5EF4-FFF2-40B4-BE49-F238E27FC236}">
                <a16:creationId xmlns:a16="http://schemas.microsoft.com/office/drawing/2014/main" id="{A9B067EE-065C-C7F0-16F1-E51202A36EDE}"/>
              </a:ext>
            </a:extLst>
          </p:cNvPr>
          <p:cNvSpPr/>
          <p:nvPr/>
        </p:nvSpPr>
        <p:spPr>
          <a:xfrm>
            <a:off x="7383493" y="5877185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ПЖ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9" name="Прямоугольник 388">
            <a:extLst>
              <a:ext uri="{FF2B5EF4-FFF2-40B4-BE49-F238E27FC236}">
                <a16:creationId xmlns:a16="http://schemas.microsoft.com/office/drawing/2014/main" id="{84EA6338-BFA1-0529-8F4C-F70991A0682E}"/>
              </a:ext>
            </a:extLst>
          </p:cNvPr>
          <p:cNvSpPr/>
          <p:nvPr/>
        </p:nvSpPr>
        <p:spPr>
          <a:xfrm>
            <a:off x="7987496" y="5871266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ПЖ.6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0" name="Прямоугольник 389">
            <a:extLst>
              <a:ext uri="{FF2B5EF4-FFF2-40B4-BE49-F238E27FC236}">
                <a16:creationId xmlns:a16="http://schemas.microsoft.com/office/drawing/2014/main" id="{4C9B62F4-2EB2-65E3-48E1-851E81E6CA4B}"/>
              </a:ext>
            </a:extLst>
          </p:cNvPr>
          <p:cNvSpPr/>
          <p:nvPr/>
        </p:nvSpPr>
        <p:spPr>
          <a:xfrm>
            <a:off x="8325513" y="5887735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В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1" name="Прямоугольник 390">
            <a:extLst>
              <a:ext uri="{FF2B5EF4-FFF2-40B4-BE49-F238E27FC236}">
                <a16:creationId xmlns:a16="http://schemas.microsoft.com/office/drawing/2014/main" id="{6092A1F2-7D37-F303-370E-76043EB4A0D0}"/>
              </a:ext>
            </a:extLst>
          </p:cNvPr>
          <p:cNvSpPr/>
          <p:nvPr/>
        </p:nvSpPr>
        <p:spPr>
          <a:xfrm>
            <a:off x="8929516" y="5881816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В.3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2" name="Прямоугольник 391">
            <a:extLst>
              <a:ext uri="{FF2B5EF4-FFF2-40B4-BE49-F238E27FC236}">
                <a16:creationId xmlns:a16="http://schemas.microsoft.com/office/drawing/2014/main" id="{2794BAF3-E0CD-A2F3-AAA4-725DAF3F01C7}"/>
              </a:ext>
            </a:extLst>
          </p:cNvPr>
          <p:cNvSpPr/>
          <p:nvPr/>
        </p:nvSpPr>
        <p:spPr>
          <a:xfrm>
            <a:off x="9378822" y="5222134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Т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3" name="Прямоугольник 392">
            <a:extLst>
              <a:ext uri="{FF2B5EF4-FFF2-40B4-BE49-F238E27FC236}">
                <a16:creationId xmlns:a16="http://schemas.microsoft.com/office/drawing/2014/main" id="{9F6EAA17-32CA-B168-85BE-ABD042AA9BFB}"/>
              </a:ext>
            </a:extLst>
          </p:cNvPr>
          <p:cNvSpPr/>
          <p:nvPr/>
        </p:nvSpPr>
        <p:spPr>
          <a:xfrm>
            <a:off x="9982825" y="5216215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Т.7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4" name="Прямоугольник 393">
            <a:extLst>
              <a:ext uri="{FF2B5EF4-FFF2-40B4-BE49-F238E27FC236}">
                <a16:creationId xmlns:a16="http://schemas.microsoft.com/office/drawing/2014/main" id="{00606CD9-606B-A813-6D10-C09732C22F54}"/>
              </a:ext>
            </a:extLst>
          </p:cNvPr>
          <p:cNvSpPr/>
          <p:nvPr/>
        </p:nvSpPr>
        <p:spPr>
          <a:xfrm>
            <a:off x="10333673" y="5578322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Н.1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5" name="Прямоугольник 394">
            <a:extLst>
              <a:ext uri="{FF2B5EF4-FFF2-40B4-BE49-F238E27FC236}">
                <a16:creationId xmlns:a16="http://schemas.microsoft.com/office/drawing/2014/main" id="{BBD23F53-C94A-809D-D14D-CEDEFE9761A5}"/>
              </a:ext>
            </a:extLst>
          </p:cNvPr>
          <p:cNvSpPr/>
          <p:nvPr/>
        </p:nvSpPr>
        <p:spPr>
          <a:xfrm>
            <a:off x="10937676" y="5572403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Н.4.8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6" name="Прямоугольник 395">
            <a:extLst>
              <a:ext uri="{FF2B5EF4-FFF2-40B4-BE49-F238E27FC236}">
                <a16:creationId xmlns:a16="http://schemas.microsoft.com/office/drawing/2014/main" id="{5073EFFB-34BC-505C-C800-ED699BF3188E}"/>
              </a:ext>
            </a:extLst>
          </p:cNvPr>
          <p:cNvSpPr/>
          <p:nvPr/>
        </p:nvSpPr>
        <p:spPr>
          <a:xfrm>
            <a:off x="11207205" y="5226987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ПС.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7" name="Прямоугольник 396">
            <a:extLst>
              <a:ext uri="{FF2B5EF4-FFF2-40B4-BE49-F238E27FC236}">
                <a16:creationId xmlns:a16="http://schemas.microsoft.com/office/drawing/2014/main" id="{66ABD953-78CB-192D-49DF-485902175932}"/>
              </a:ext>
            </a:extLst>
          </p:cNvPr>
          <p:cNvSpPr/>
          <p:nvPr/>
        </p:nvSpPr>
        <p:spPr>
          <a:xfrm>
            <a:off x="11811208" y="5221068"/>
            <a:ext cx="426260" cy="102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ПС.11</a:t>
            </a:r>
            <a:endParaRPr kumimoji="0" lang="ru-RU" sz="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9" name="Прямоугольник 138">
            <a:extLst>
              <a:ext uri="{FF2B5EF4-FFF2-40B4-BE49-F238E27FC236}">
                <a16:creationId xmlns:a16="http://schemas.microsoft.com/office/drawing/2014/main" id="{5A290AE8-E65C-C91C-7165-3F0FEE87AF08}"/>
              </a:ext>
            </a:extLst>
          </p:cNvPr>
          <p:cNvSpPr/>
          <p:nvPr/>
        </p:nvSpPr>
        <p:spPr>
          <a:xfrm>
            <a:off x="11079275" y="4611332"/>
            <a:ext cx="1112725" cy="223950"/>
          </a:xfrm>
          <a:prstGeom prst="rect">
            <a:avLst/>
          </a:prstGeom>
          <a:solidFill>
            <a:srgbClr val="DDDC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Психосоциальные факторы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99" name="Группа 34">
            <a:extLst>
              <a:ext uri="{FF2B5EF4-FFF2-40B4-BE49-F238E27FC236}">
                <a16:creationId xmlns:a16="http://schemas.microsoft.com/office/drawing/2014/main" id="{16E50B7A-3E10-4A7B-B442-B73D11F01985}"/>
              </a:ext>
            </a:extLst>
          </p:cNvPr>
          <p:cNvGrpSpPr>
            <a:grpSpLocks/>
          </p:cNvGrpSpPr>
          <p:nvPr/>
        </p:nvGrpSpPr>
        <p:grpSpPr bwMode="auto">
          <a:xfrm>
            <a:off x="-4165" y="502639"/>
            <a:ext cx="12192000" cy="50002"/>
            <a:chOff x="0" y="661986"/>
            <a:chExt cx="12192000" cy="45720"/>
          </a:xfrm>
        </p:grpSpPr>
        <p:sp>
          <p:nvSpPr>
            <p:cNvPr id="200" name="Прямоугольник 199">
              <a:extLst>
                <a:ext uri="{FF2B5EF4-FFF2-40B4-BE49-F238E27FC236}">
                  <a16:creationId xmlns:a16="http://schemas.microsoft.com/office/drawing/2014/main" id="{F42F706B-D6D0-477D-9068-96694F920233}"/>
                </a:ext>
              </a:extLst>
            </p:cNvPr>
            <p:cNvSpPr/>
            <p:nvPr/>
          </p:nvSpPr>
          <p:spPr>
            <a:xfrm>
              <a:off x="0" y="661986"/>
              <a:ext cx="10263187" cy="45720"/>
            </a:xfrm>
            <a:prstGeom prst="rect">
              <a:avLst/>
            </a:prstGeom>
            <a:solidFill>
              <a:srgbClr val="3E22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1" name="Прямоугольник 200">
              <a:extLst>
                <a:ext uri="{FF2B5EF4-FFF2-40B4-BE49-F238E27FC236}">
                  <a16:creationId xmlns:a16="http://schemas.microsoft.com/office/drawing/2014/main" id="{0AFBEDD0-86D4-4CD5-BCEB-4BD7AAA3FE7A}"/>
                </a:ext>
              </a:extLst>
            </p:cNvPr>
            <p:cNvSpPr/>
            <p:nvPr/>
          </p:nvSpPr>
          <p:spPr>
            <a:xfrm>
              <a:off x="10863262" y="661986"/>
              <a:ext cx="1328738" cy="45720"/>
            </a:xfrm>
            <a:prstGeom prst="rect">
              <a:avLst/>
            </a:prstGeom>
            <a:solidFill>
              <a:srgbClr val="3395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9EEE03D-5041-4404-AD7C-4EF55702F96B}"/>
              </a:ext>
            </a:extLst>
          </p:cNvPr>
          <p:cNvSpPr/>
          <p:nvPr/>
        </p:nvSpPr>
        <p:spPr>
          <a:xfrm>
            <a:off x="5608669" y="6163018"/>
            <a:ext cx="6574622" cy="6933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лассификатор дополнен наименованиями веществ в соответствии с: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методическими рекомендациями «Гигиенические критерии оценки и классификация условий труда по показателям вредности и опасности факторов производственной среды, тяжести и напряженности трудового процесса»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Н 2.2.4/2.1.8.566-96 Физические факторы производственной среды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ведены опасные факторы и виды энергии</a:t>
            </a:r>
          </a:p>
        </p:txBody>
      </p:sp>
    </p:spTree>
    <p:extLst>
      <p:ext uri="{BB962C8B-B14F-4D97-AF65-F5344CB8AC3E}">
        <p14:creationId xmlns:p14="http://schemas.microsoft.com/office/powerpoint/2010/main" val="36606324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9DCB06F9-44B8-44F1-A575-2CA04B05BD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444137"/>
            <a:ext cx="11360800" cy="5647696"/>
          </a:xfrm>
        </p:spPr>
        <p:txBody>
          <a:bodyPr>
            <a:normAutofit fontScale="92500" lnSpcReduction="20000"/>
          </a:bodyPr>
          <a:lstStyle/>
          <a:p>
            <a:pPr marL="152396" indent="0" algn="ctr">
              <a:buNone/>
            </a:pPr>
            <a:r>
              <a:rPr lang="ru-RU" sz="1800" b="1" dirty="0">
                <a:solidFill>
                  <a:srgbClr val="002060"/>
                </a:solidFill>
                <a:effectLst/>
                <a:latin typeface="+mj-lt"/>
                <a:ea typeface="Times New Roman" panose="02020603050405020304" pitchFamily="18" charset="0"/>
              </a:rPr>
              <a:t>Разработан учебный модуль</a:t>
            </a:r>
            <a:endParaRPr lang="ru-KZ" sz="1800" dirty="0">
              <a:solidFill>
                <a:srgbClr val="002060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152396" indent="0" algn="ctr">
              <a:buNone/>
            </a:pPr>
            <a:r>
              <a:rPr lang="ru-RU" sz="1800" b="1" dirty="0">
                <a:solidFill>
                  <a:srgbClr val="002060"/>
                </a:solidFill>
                <a:effectLst/>
                <a:latin typeface="+mj-lt"/>
                <a:ea typeface="Times New Roman" panose="02020603050405020304" pitchFamily="18" charset="0"/>
              </a:rPr>
              <a:t>«Оценка и классификация условий труда </a:t>
            </a:r>
            <a:endParaRPr lang="ru-KZ" sz="1800" dirty="0">
              <a:solidFill>
                <a:srgbClr val="002060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152396" indent="0" algn="ctr">
              <a:buNone/>
            </a:pPr>
            <a:r>
              <a:rPr lang="ru-RU" sz="1800" b="1" dirty="0">
                <a:solidFill>
                  <a:srgbClr val="002060"/>
                </a:solidFill>
                <a:effectLst/>
                <a:latin typeface="+mj-lt"/>
                <a:ea typeface="Times New Roman" panose="02020603050405020304" pitchFamily="18" charset="0"/>
              </a:rPr>
              <a:t>по показателям производственной среды и трудового процесса»</a:t>
            </a:r>
            <a:endParaRPr lang="ru-KZ" sz="1800" dirty="0">
              <a:solidFill>
                <a:srgbClr val="002060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152396" indent="0" algn="just">
              <a:buNone/>
            </a:pPr>
            <a:r>
              <a:rPr lang="ru-RU" sz="1800" b="1" dirty="0">
                <a:solidFill>
                  <a:srgbClr val="002060"/>
                </a:solidFill>
                <a:effectLst/>
                <a:latin typeface="+mj-lt"/>
                <a:ea typeface="Times New Roman" panose="02020603050405020304" pitchFamily="18" charset="0"/>
              </a:rPr>
              <a:t> </a:t>
            </a:r>
            <a:endParaRPr lang="ru-KZ" sz="1800" dirty="0">
              <a:solidFill>
                <a:srgbClr val="002060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150813" indent="388938" algn="just">
              <a:buNone/>
            </a:pPr>
            <a:r>
              <a:rPr lang="ru-KZ" sz="18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Цель учебного модуля:</a:t>
            </a:r>
            <a:r>
              <a:rPr lang="ru-KZ" sz="18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KZ" sz="1800" dirty="0">
                <a:solidFill>
                  <a:srgbClr val="002060"/>
                </a:solidFill>
                <a:effectLst/>
                <a:latin typeface="+mj-lt"/>
                <a:ea typeface="Times New Roman" panose="02020603050405020304" pitchFamily="18" charset="0"/>
              </a:rPr>
              <a:t>сформировать у обучающихся научно обоснованное понимание принципов, подходов и инструментов оценки и управления профессиональными рисками, а также компетенции в классификации условий труда на основе показателей производственной среды и трудового процесса с учетом действующего законодательства и международных стандартов в области охраны труда</a:t>
            </a:r>
            <a:r>
              <a:rPr lang="ru-KZ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</a:t>
            </a:r>
            <a:endParaRPr lang="ru-KZ" sz="18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50813" indent="388938" algn="just">
              <a:buNone/>
            </a:pPr>
            <a:r>
              <a:rPr lang="ru-KZ" sz="18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Задачи учебного модуля:</a:t>
            </a:r>
            <a:endParaRPr lang="ru-KZ" sz="18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lvl="0" indent="0" algn="just">
              <a:buNone/>
              <a:tabLst>
                <a:tab pos="228600" algn="l"/>
              </a:tabLst>
            </a:pPr>
            <a:r>
              <a:rPr lang="ru-RU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         </a:t>
            </a:r>
            <a:r>
              <a:rPr lang="ru-KZ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Ознакомить обучающихся с нормативно-правовой базой Республики Казахстан и международными требованиями (ISO 31000, ISO 45001, ГОСТ 12100, ГОСТ </a:t>
            </a:r>
            <a:r>
              <a:rPr lang="en-US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N</a:t>
            </a:r>
            <a:r>
              <a:rPr lang="ru-RU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11226</a:t>
            </a:r>
            <a:r>
              <a:rPr lang="ru-KZ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и др.) в области оценки условий труда и управления профессиональными рисками.</a:t>
            </a:r>
            <a:endParaRPr lang="ru-KZ" sz="18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lvl="0" indent="0" algn="just">
              <a:buNone/>
              <a:tabLst>
                <a:tab pos="270510" algn="l"/>
              </a:tabLst>
            </a:pPr>
            <a:r>
              <a:rPr lang="ru-RU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          </a:t>
            </a:r>
            <a:r>
              <a:rPr lang="ru-KZ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Изучить классификатор вредных и опасных факторов (КВОФ), а также методы гигиенической оценки условий труда.</a:t>
            </a:r>
            <a:endParaRPr lang="ru-KZ" sz="18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lvl="0" indent="0" algn="just">
              <a:buNone/>
            </a:pPr>
            <a:r>
              <a:rPr lang="ru-RU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          </a:t>
            </a:r>
            <a:r>
              <a:rPr lang="ru-KZ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Научить проводить идентификацию рисков и опасностей, а также определять показатели индивидуального и интегрального профессионального риска (ИПР </a:t>
            </a:r>
            <a:r>
              <a:rPr lang="ru-KZ" sz="1800" dirty="0" err="1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ПОиПЗ</a:t>
            </a:r>
            <a:r>
              <a:rPr lang="ru-KZ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ИПР ПТ).</a:t>
            </a:r>
            <a:endParaRPr lang="ru-KZ" sz="18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lvl="0" indent="0" algn="just">
              <a:buNone/>
              <a:tabLst>
                <a:tab pos="457200" algn="l"/>
              </a:tabLst>
            </a:pPr>
            <a:r>
              <a:rPr lang="ru-RU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          </a:t>
            </a:r>
            <a:r>
              <a:rPr lang="ru-KZ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Освоить методики формирования корректирующих и предупреждающих мер на основе результатов оценки рисков и данных о происшествиях.</a:t>
            </a:r>
            <a:endParaRPr lang="ru-KZ" sz="18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lvl="0" indent="0" algn="just">
              <a:buNone/>
              <a:tabLst>
                <a:tab pos="228600" algn="l"/>
              </a:tabLst>
            </a:pPr>
            <a:r>
              <a:rPr lang="ru-RU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          </a:t>
            </a:r>
            <a:r>
              <a:rPr lang="ru-KZ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Развить навыки применения динамической оценки рисков в особых условиях труда (высотные, подземные работы, а также работы на открытом воздухе).</a:t>
            </a:r>
            <a:endParaRPr lang="ru-KZ" sz="18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lvl="0" indent="0" algn="just">
              <a:buNone/>
              <a:tabLst>
                <a:tab pos="457200" algn="l"/>
              </a:tabLst>
            </a:pPr>
            <a:r>
              <a:rPr lang="ru-RU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         </a:t>
            </a:r>
            <a:r>
              <a:rPr lang="ru-KZ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Сформировать представление о принципах интеграции системы управления профессиональными рисками (далее-СУР) в общую систему управления организацией и устойчивого развития.</a:t>
            </a:r>
            <a:endParaRPr lang="ru-KZ" sz="18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lvl="0" indent="0" algn="just">
              <a:buNone/>
              <a:tabLst>
                <a:tab pos="270510" algn="l"/>
              </a:tabLst>
            </a:pPr>
            <a:r>
              <a:rPr lang="ru-RU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          </a:t>
            </a:r>
            <a:r>
              <a:rPr lang="ru-KZ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Подготовить обучающихся к практическому применению полученных знаний на производстве. </a:t>
            </a:r>
            <a:endParaRPr lang="ru-KZ" sz="18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ru-KZ" dirty="0"/>
          </a:p>
        </p:txBody>
      </p:sp>
      <p:pic>
        <p:nvPicPr>
          <p:cNvPr id="4" name="Google Shape;196;p28">
            <a:extLst>
              <a:ext uri="{FF2B5EF4-FFF2-40B4-BE49-F238E27FC236}">
                <a16:creationId xmlns:a16="http://schemas.microsoft.com/office/drawing/2014/main" id="{E3F621BC-46D5-49E7-A193-1DF27EE2AE12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6534" y="133767"/>
            <a:ext cx="963167" cy="160533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33">
            <a:extLst>
              <a:ext uri="{FF2B5EF4-FFF2-40B4-BE49-F238E27FC236}">
                <a16:creationId xmlns:a16="http://schemas.microsoft.com/office/drawing/2014/main" id="{E9EB14BA-1C42-4974-B507-2EA40A29A5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01425" y="-10766"/>
            <a:ext cx="790575" cy="369332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altLang="ru-RU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</a:p>
        </p:txBody>
      </p:sp>
    </p:spTree>
    <p:extLst>
      <p:ext uri="{BB962C8B-B14F-4D97-AF65-F5344CB8AC3E}">
        <p14:creationId xmlns:p14="http://schemas.microsoft.com/office/powerpoint/2010/main" val="16428740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487F6B4B-5073-42BB-A7C9-7356ED451047}"/>
              </a:ext>
            </a:extLst>
          </p:cNvPr>
          <p:cNvSpPr/>
          <p:nvPr/>
        </p:nvSpPr>
        <p:spPr>
          <a:xfrm>
            <a:off x="4078423" y="1054767"/>
            <a:ext cx="750397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…</a:t>
            </a:r>
            <a:r>
              <a:rPr lang="ru-RU" sz="2000" dirty="0">
                <a:latin typeface="Tahoma"/>
                <a:cs typeface="Tahoma"/>
              </a:rPr>
              <a:t>Крайне острой проблемой остается высокий уровень производственного травматизма. Правительству до конца года необходимо принять Концепцию безопасного труда до 2030 года </a:t>
            </a:r>
          </a:p>
        </p:txBody>
      </p:sp>
      <p:sp>
        <p:nvSpPr>
          <p:cNvPr id="107" name="자유형: 도형 13">
            <a:extLst>
              <a:ext uri="{FF2B5EF4-FFF2-40B4-BE49-F238E27FC236}">
                <a16:creationId xmlns:a16="http://schemas.microsoft.com/office/drawing/2014/main" id="{C2D34CCB-777E-43FD-9A74-2CF65FE8CF49}"/>
              </a:ext>
            </a:extLst>
          </p:cNvPr>
          <p:cNvSpPr/>
          <p:nvPr/>
        </p:nvSpPr>
        <p:spPr>
          <a:xfrm>
            <a:off x="4091103" y="1003096"/>
            <a:ext cx="178003" cy="143846"/>
          </a:xfrm>
          <a:custGeom>
            <a:avLst/>
            <a:gdLst/>
            <a:ahLst/>
            <a:cxnLst/>
            <a:rect l="l" t="t" r="r" b="b"/>
            <a:pathLst>
              <a:path w="282415" h="261194">
                <a:moveTo>
                  <a:pt x="258472" y="0"/>
                </a:moveTo>
                <a:lnTo>
                  <a:pt x="282415" y="38091"/>
                </a:lnTo>
                <a:cubicBezTo>
                  <a:pt x="262463" y="46435"/>
                  <a:pt x="247771" y="58859"/>
                  <a:pt x="238339" y="75365"/>
                </a:cubicBezTo>
                <a:cubicBezTo>
                  <a:pt x="228907" y="91871"/>
                  <a:pt x="223647" y="115905"/>
                  <a:pt x="222558" y="147466"/>
                </a:cubicBezTo>
                <a:lnTo>
                  <a:pt x="273709" y="147466"/>
                </a:lnTo>
                <a:lnTo>
                  <a:pt x="273709" y="261194"/>
                </a:lnTo>
                <a:lnTo>
                  <a:pt x="168687" y="261194"/>
                </a:lnTo>
                <a:lnTo>
                  <a:pt x="168687" y="171408"/>
                </a:lnTo>
                <a:cubicBezTo>
                  <a:pt x="168687" y="122797"/>
                  <a:pt x="174491" y="87609"/>
                  <a:pt x="186100" y="65843"/>
                </a:cubicBezTo>
                <a:cubicBezTo>
                  <a:pt x="201336" y="36821"/>
                  <a:pt x="225460" y="14874"/>
                  <a:pt x="258472" y="0"/>
                </a:cubicBezTo>
                <a:close/>
                <a:moveTo>
                  <a:pt x="89785" y="0"/>
                </a:moveTo>
                <a:lnTo>
                  <a:pt x="113728" y="38091"/>
                </a:lnTo>
                <a:cubicBezTo>
                  <a:pt x="93775" y="46435"/>
                  <a:pt x="79083" y="58859"/>
                  <a:pt x="69651" y="75365"/>
                </a:cubicBezTo>
                <a:cubicBezTo>
                  <a:pt x="60219" y="91871"/>
                  <a:pt x="54959" y="115905"/>
                  <a:pt x="53871" y="147466"/>
                </a:cubicBezTo>
                <a:lnTo>
                  <a:pt x="105021" y="147466"/>
                </a:lnTo>
                <a:lnTo>
                  <a:pt x="105021" y="261194"/>
                </a:lnTo>
                <a:lnTo>
                  <a:pt x="0" y="261194"/>
                </a:lnTo>
                <a:lnTo>
                  <a:pt x="0" y="171408"/>
                </a:lnTo>
                <a:cubicBezTo>
                  <a:pt x="0" y="122797"/>
                  <a:pt x="5804" y="87609"/>
                  <a:pt x="17413" y="65843"/>
                </a:cubicBezTo>
                <a:cubicBezTo>
                  <a:pt x="32649" y="36821"/>
                  <a:pt x="56773" y="14874"/>
                  <a:pt x="89785" y="0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ko-KR" altLang="en-US" sz="2700" kern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Arial Unicode MS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5877" y="750767"/>
            <a:ext cx="22050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УЧЕНИЕ  </a:t>
            </a: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487F6B4B-5073-42BB-A7C9-7356ED451047}"/>
              </a:ext>
            </a:extLst>
          </p:cNvPr>
          <p:cNvSpPr/>
          <p:nvPr/>
        </p:nvSpPr>
        <p:spPr>
          <a:xfrm>
            <a:off x="7086600" y="2251248"/>
            <a:ext cx="393883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05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Послание Главы государства от 1 сентября 2023 года)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497793" y="3412947"/>
            <a:ext cx="3810000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ru-RU" sz="2000" b="1" dirty="0">
                <a:solidFill>
                  <a:srgbClr val="002060"/>
                </a:solidFill>
                <a:latin typeface="Tahoma"/>
                <a:cs typeface="Tahoma"/>
                <a:sym typeface="Arial"/>
              </a:rPr>
              <a:t>28 декабря 2023 года Правительством РК утверждена Концепция безопасного труда РК на 2024-2030 годы</a:t>
            </a:r>
            <a:r>
              <a:rPr lang="ru-RU" sz="2000" dirty="0">
                <a:latin typeface="Tahoma"/>
                <a:cs typeface="Tahoma"/>
                <a:sym typeface="Arial"/>
              </a:rPr>
              <a:t>, направленная на предупреждение и исключение профессиональных рисков на рабочих местах</a:t>
            </a: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D7D97E51-D238-42F7-B582-182995CDEA99}"/>
              </a:ext>
            </a:extLst>
          </p:cNvPr>
          <p:cNvSpPr/>
          <p:nvPr/>
        </p:nvSpPr>
        <p:spPr>
          <a:xfrm>
            <a:off x="4724400" y="3254786"/>
            <a:ext cx="6858000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900" b="1" dirty="0">
                <a:latin typeface="Tahoma"/>
                <a:cs typeface="Tahoma"/>
              </a:rPr>
              <a:t>Принципы политики</a:t>
            </a:r>
            <a:r>
              <a:rPr lang="ru-RU" sz="1900" dirty="0">
                <a:latin typeface="Tahoma"/>
                <a:cs typeface="Tahoma"/>
              </a:rPr>
              <a:t> обеспечения безопасного труда: </a:t>
            </a: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ru-RU" sz="1900" dirty="0">
                <a:latin typeface="Tahoma"/>
                <a:cs typeface="Tahoma"/>
                <a:sym typeface="Arial" pitchFamily="34" charset="0"/>
              </a:rPr>
              <a:t>системное и постоянное </a:t>
            </a:r>
            <a:r>
              <a:rPr lang="ru-RU" sz="1900" b="1" dirty="0">
                <a:solidFill>
                  <a:srgbClr val="002060"/>
                </a:solidFill>
                <a:latin typeface="Tahoma"/>
                <a:cs typeface="Tahoma"/>
                <a:sym typeface="Arial" pitchFamily="34" charset="0"/>
              </a:rPr>
              <a:t>улучшение</a:t>
            </a:r>
            <a:r>
              <a:rPr lang="ru-RU" sz="1900" dirty="0">
                <a:latin typeface="Tahoma"/>
                <a:cs typeface="Tahoma"/>
                <a:sym typeface="Arial" pitchFamily="34" charset="0"/>
              </a:rPr>
              <a:t> условий труда </a:t>
            </a: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ru-RU" sz="1900" b="1" dirty="0">
                <a:solidFill>
                  <a:srgbClr val="002060"/>
                </a:solidFill>
                <a:latin typeface="Tahoma"/>
                <a:cs typeface="Tahoma"/>
              </a:rPr>
              <a:t>превентивность </a:t>
            </a:r>
            <a:r>
              <a:rPr lang="ru-RU" sz="1900" dirty="0">
                <a:latin typeface="Tahoma"/>
                <a:cs typeface="Tahoma"/>
              </a:rPr>
              <a:t>и сбалансированность на основе международных норм </a:t>
            </a: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ru-RU" sz="1900" dirty="0">
                <a:latin typeface="Tahoma"/>
                <a:cs typeface="Tahoma"/>
              </a:rPr>
              <a:t>ответственность и </a:t>
            </a:r>
            <a:r>
              <a:rPr lang="ru-RU" sz="1900" b="1" dirty="0">
                <a:solidFill>
                  <a:srgbClr val="002060"/>
                </a:solidFill>
                <a:latin typeface="Tahoma"/>
                <a:cs typeface="Tahoma"/>
              </a:rPr>
              <a:t>вовлеченность</a:t>
            </a:r>
            <a:r>
              <a:rPr lang="ru-RU" sz="1900" dirty="0">
                <a:latin typeface="Tahoma"/>
                <a:cs typeface="Tahoma"/>
              </a:rPr>
              <a:t> на основе социального партнерства</a:t>
            </a: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ru-RU" sz="1900" dirty="0">
                <a:latin typeface="Tahoma"/>
                <a:cs typeface="Tahoma"/>
              </a:rPr>
              <a:t>объективность и осведомленность на основе </a:t>
            </a:r>
            <a:r>
              <a:rPr lang="ru-RU" sz="1900" b="1" dirty="0">
                <a:solidFill>
                  <a:srgbClr val="002060"/>
                </a:solidFill>
                <a:latin typeface="Tahoma"/>
                <a:cs typeface="Tahoma"/>
              </a:rPr>
              <a:t>полного охвата</a:t>
            </a:r>
            <a:r>
              <a:rPr lang="ru-RU" sz="1900" dirty="0">
                <a:latin typeface="Tahoma"/>
                <a:cs typeface="Tahoma"/>
              </a:rPr>
              <a:t> достоверной информацией</a:t>
            </a: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ru-RU" sz="1900" dirty="0">
                <a:latin typeface="Tahoma"/>
                <a:cs typeface="Tahoma"/>
              </a:rPr>
              <a:t>объективность исходных данных об </a:t>
            </a:r>
            <a:r>
              <a:rPr lang="ru-RU" sz="1900" b="1" dirty="0">
                <a:solidFill>
                  <a:srgbClr val="002060"/>
                </a:solidFill>
                <a:latin typeface="Tahoma"/>
                <a:cs typeface="Tahoma"/>
              </a:rPr>
              <a:t>условиях труда и профессиональных рисках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3643" y="933730"/>
            <a:ext cx="2545955" cy="2137695"/>
          </a:xfrm>
          <a:prstGeom prst="rect">
            <a:avLst/>
          </a:prstGeom>
        </p:spPr>
      </p:pic>
      <p:grpSp>
        <p:nvGrpSpPr>
          <p:cNvPr id="31" name="object 13"/>
          <p:cNvGrpSpPr/>
          <p:nvPr/>
        </p:nvGrpSpPr>
        <p:grpSpPr>
          <a:xfrm>
            <a:off x="4263999" y="3537133"/>
            <a:ext cx="213997" cy="2613949"/>
            <a:chOff x="3443985" y="1656333"/>
            <a:chExt cx="266065" cy="4706620"/>
          </a:xfrm>
        </p:grpSpPr>
        <p:sp>
          <p:nvSpPr>
            <p:cNvPr id="36" name="object 14"/>
            <p:cNvSpPr/>
            <p:nvPr/>
          </p:nvSpPr>
          <p:spPr>
            <a:xfrm>
              <a:off x="3450335" y="1662683"/>
              <a:ext cx="253365" cy="4693920"/>
            </a:xfrm>
            <a:custGeom>
              <a:avLst/>
              <a:gdLst/>
              <a:ahLst/>
              <a:cxnLst/>
              <a:rect l="l" t="t" r="r" b="b"/>
              <a:pathLst>
                <a:path w="253364" h="4693920">
                  <a:moveTo>
                    <a:pt x="0" y="0"/>
                  </a:moveTo>
                  <a:lnTo>
                    <a:pt x="0" y="4693920"/>
                  </a:lnTo>
                  <a:lnTo>
                    <a:pt x="252984" y="23469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78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15"/>
            <p:cNvSpPr/>
            <p:nvPr/>
          </p:nvSpPr>
          <p:spPr>
            <a:xfrm>
              <a:off x="3450335" y="1662683"/>
              <a:ext cx="253365" cy="4693920"/>
            </a:xfrm>
            <a:custGeom>
              <a:avLst/>
              <a:gdLst/>
              <a:ahLst/>
              <a:cxnLst/>
              <a:rect l="l" t="t" r="r" b="b"/>
              <a:pathLst>
                <a:path w="253364" h="4693920">
                  <a:moveTo>
                    <a:pt x="0" y="0"/>
                  </a:moveTo>
                  <a:lnTo>
                    <a:pt x="252984" y="2346960"/>
                  </a:lnTo>
                  <a:lnTo>
                    <a:pt x="0" y="4693920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DEEBF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780162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01A219-C06D-9D7F-D03B-F71FF5D526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3E17E72-0FE5-13FA-7954-CFE4CB72DB56}"/>
              </a:ext>
            </a:extLst>
          </p:cNvPr>
          <p:cNvSpPr txBox="1"/>
          <p:nvPr/>
        </p:nvSpPr>
        <p:spPr>
          <a:xfrm>
            <a:off x="1838325" y="18197"/>
            <a:ext cx="9899842" cy="52322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all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спубликанский научно-исследовательский институт по охране труда Министерства труда и социальной защиты населения Республики Казахстан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D24646A-8F42-F7C8-DA4C-6CB75E651EF9}"/>
              </a:ext>
            </a:extLst>
          </p:cNvPr>
          <p:cNvSpPr/>
          <p:nvPr/>
        </p:nvSpPr>
        <p:spPr>
          <a:xfrm>
            <a:off x="0" y="2614246"/>
            <a:ext cx="12192000" cy="1594339"/>
          </a:xfrm>
          <a:prstGeom prst="rect">
            <a:avLst/>
          </a:prstGeom>
          <a:solidFill>
            <a:srgbClr val="E7F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k-KZ" sz="2000" b="0" i="0" u="none" strike="noStrike" kern="1200" cap="none" spc="0" normalizeH="0" baseline="0" noProof="0" dirty="0">
              <a:ln>
                <a:noFill/>
              </a:ln>
              <a:solidFill>
                <a:srgbClr val="293A5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</a:rPr>
              <a:t>Трансформация государственного механизма социальных гарантий в отношении лиц, занятых во вредных условиях труда в современном контексте</a:t>
            </a: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E5AFFEA-A9A5-F697-8D59-7A07836E5642}"/>
              </a:ext>
            </a:extLst>
          </p:cNvPr>
          <p:cNvSpPr txBox="1"/>
          <p:nvPr/>
        </p:nvSpPr>
        <p:spPr>
          <a:xfrm>
            <a:off x="3518444" y="2124000"/>
            <a:ext cx="51551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Open Sans Light"/>
                <a:cs typeface="Arial" panose="020B0604020202020204" pitchFamily="34" charset="0"/>
              </a:rPr>
              <a:t>НАУЧНО-ТЕХНИЧЕСКАЯ ПРОГРАММ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D22211-781B-5396-FBC7-8575A744777C}"/>
              </a:ext>
            </a:extLst>
          </p:cNvPr>
          <p:cNvSpPr txBox="1"/>
          <p:nvPr/>
        </p:nvSpPr>
        <p:spPr>
          <a:xfrm>
            <a:off x="398584" y="5380892"/>
            <a:ext cx="71452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Open Sans Light"/>
                <a:cs typeface="Arial" panose="020B0604020202020204" pitchFamily="34" charset="0"/>
              </a:rPr>
              <a:t>Руководитель НТП</a:t>
            </a:r>
          </a:p>
          <a:p>
            <a:pPr lvl="0">
              <a:defRPr/>
            </a:pPr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Open Sans Light"/>
                <a:cs typeface="Arial" panose="020B0604020202020204" pitchFamily="34" charset="0"/>
              </a:rPr>
              <a:t>кандидат юридических наук, ассоциированный профессор </a:t>
            </a:r>
            <a:r>
              <a:rPr lang="ru-RU" sz="16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Open Sans Light"/>
                <a:cs typeface="Arial" panose="020B0604020202020204" pitchFamily="34" charset="0"/>
              </a:rPr>
              <a:t>Бекмагамбетов</a:t>
            </a: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Open Sans Light"/>
                <a:cs typeface="Arial" panose="020B0604020202020204" pitchFamily="34" charset="0"/>
              </a:rPr>
              <a:t> А.Б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7DE4E3B-CD53-2735-F549-97B4095856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5" y="18197"/>
            <a:ext cx="1771650" cy="38142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100101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74476" y="80731"/>
            <a:ext cx="1222649" cy="264697"/>
          </a:xfrm>
          <a:custGeom>
            <a:avLst/>
            <a:gdLst/>
            <a:ahLst/>
            <a:cxnLst/>
            <a:rect l="l" t="t" r="r" b="b"/>
            <a:pathLst>
              <a:path w="1833974" h="397046">
                <a:moveTo>
                  <a:pt x="0" y="0"/>
                </a:moveTo>
                <a:lnTo>
                  <a:pt x="1833974" y="0"/>
                </a:lnTo>
                <a:lnTo>
                  <a:pt x="1833974" y="397046"/>
                </a:lnTo>
                <a:lnTo>
                  <a:pt x="0" y="397046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19999"/>
            </a:blip>
            <a:stretch>
              <a:fillRect/>
            </a:stretch>
          </a:blipFill>
        </p:spPr>
      </p:sp>
      <p:grpSp>
        <p:nvGrpSpPr>
          <p:cNvPr id="3" name="Group 3"/>
          <p:cNvGrpSpPr/>
          <p:nvPr/>
        </p:nvGrpSpPr>
        <p:grpSpPr>
          <a:xfrm rot="5400000">
            <a:off x="1782320" y="2464644"/>
            <a:ext cx="1235649" cy="541737"/>
            <a:chOff x="0" y="0"/>
            <a:chExt cx="488158" cy="214019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488158" cy="214019"/>
            </a:xfrm>
            <a:custGeom>
              <a:avLst/>
              <a:gdLst/>
              <a:ahLst/>
              <a:cxnLst/>
              <a:rect l="l" t="t" r="r" b="b"/>
              <a:pathLst>
                <a:path w="488158" h="214019">
                  <a:moveTo>
                    <a:pt x="284958" y="0"/>
                  </a:moveTo>
                  <a:lnTo>
                    <a:pt x="0" y="0"/>
                  </a:lnTo>
                  <a:lnTo>
                    <a:pt x="0" y="214019"/>
                  </a:lnTo>
                  <a:lnTo>
                    <a:pt x="284958" y="214019"/>
                  </a:lnTo>
                  <a:lnTo>
                    <a:pt x="488158" y="107010"/>
                  </a:lnTo>
                  <a:lnTo>
                    <a:pt x="284958" y="0"/>
                  </a:lnTo>
                  <a:close/>
                </a:path>
              </a:pathLst>
            </a:custGeom>
            <a:solidFill>
              <a:srgbClr val="047BAD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373858" cy="261644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1200"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177375" y="2117687"/>
            <a:ext cx="2493638" cy="870427"/>
            <a:chOff x="0" y="0"/>
            <a:chExt cx="985141" cy="343872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985141" cy="343872"/>
            </a:xfrm>
            <a:custGeom>
              <a:avLst/>
              <a:gdLst/>
              <a:ahLst/>
              <a:cxnLst/>
              <a:rect l="l" t="t" r="r" b="b"/>
              <a:pathLst>
                <a:path w="985141" h="343872">
                  <a:moveTo>
                    <a:pt x="0" y="0"/>
                  </a:moveTo>
                  <a:lnTo>
                    <a:pt x="985141" y="0"/>
                  </a:lnTo>
                  <a:lnTo>
                    <a:pt x="985141" y="343872"/>
                  </a:lnTo>
                  <a:lnTo>
                    <a:pt x="0" y="343872"/>
                  </a:lnTo>
                  <a:close/>
                </a:path>
              </a:pathLst>
            </a:custGeom>
            <a:solidFill>
              <a:srgbClr val="FFFFFF"/>
            </a:solidFill>
            <a:ln w="9525" cap="sq">
              <a:solidFill>
                <a:srgbClr val="047BAD"/>
              </a:solidFill>
              <a:prstDash val="solid"/>
              <a:miter/>
            </a:ln>
          </p:spPr>
        </p:sp>
        <p:sp>
          <p:nvSpPr>
            <p:cNvPr id="8" name="TextBox 8"/>
            <p:cNvSpPr txBox="1"/>
            <p:nvPr/>
          </p:nvSpPr>
          <p:spPr>
            <a:xfrm>
              <a:off x="0" y="-38100"/>
              <a:ext cx="985141" cy="3819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r>
                <a:rPr lang="en-US" sz="1333" b="1">
                  <a:solidFill>
                    <a:srgbClr val="273357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Отрасль</a:t>
              </a:r>
            </a:p>
            <a:p>
              <a:pPr algn="ctr">
                <a:lnSpc>
                  <a:spcPts val="1867"/>
                </a:lnSpc>
              </a:pPr>
              <a:r>
                <a:rPr lang="en-US" sz="1333" b="1">
                  <a:solidFill>
                    <a:srgbClr val="273357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экономической деятельности </a:t>
              </a:r>
            </a:p>
          </p:txBody>
        </p:sp>
      </p:grpSp>
      <p:grpSp>
        <p:nvGrpSpPr>
          <p:cNvPr id="9" name="Group 9"/>
          <p:cNvGrpSpPr/>
          <p:nvPr/>
        </p:nvGrpSpPr>
        <p:grpSpPr>
          <a:xfrm rot="5400000">
            <a:off x="2278046" y="3700293"/>
            <a:ext cx="1235649" cy="541737"/>
            <a:chOff x="0" y="0"/>
            <a:chExt cx="488158" cy="214019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488158" cy="214019"/>
            </a:xfrm>
            <a:custGeom>
              <a:avLst/>
              <a:gdLst/>
              <a:ahLst/>
              <a:cxnLst/>
              <a:rect l="l" t="t" r="r" b="b"/>
              <a:pathLst>
                <a:path w="488158" h="214019">
                  <a:moveTo>
                    <a:pt x="284958" y="0"/>
                  </a:moveTo>
                  <a:lnTo>
                    <a:pt x="0" y="0"/>
                  </a:lnTo>
                  <a:lnTo>
                    <a:pt x="0" y="214019"/>
                  </a:lnTo>
                  <a:lnTo>
                    <a:pt x="284958" y="214019"/>
                  </a:lnTo>
                  <a:lnTo>
                    <a:pt x="488158" y="107010"/>
                  </a:lnTo>
                  <a:lnTo>
                    <a:pt x="284958" y="0"/>
                  </a:lnTo>
                  <a:close/>
                </a:path>
              </a:pathLst>
            </a:custGeom>
            <a:solidFill>
              <a:srgbClr val="047BAD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373858" cy="261644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1200"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685800" y="3353336"/>
            <a:ext cx="2493638" cy="870427"/>
            <a:chOff x="0" y="0"/>
            <a:chExt cx="985141" cy="343872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985141" cy="343872"/>
            </a:xfrm>
            <a:custGeom>
              <a:avLst/>
              <a:gdLst/>
              <a:ahLst/>
              <a:cxnLst/>
              <a:rect l="l" t="t" r="r" b="b"/>
              <a:pathLst>
                <a:path w="985141" h="343872">
                  <a:moveTo>
                    <a:pt x="0" y="0"/>
                  </a:moveTo>
                  <a:lnTo>
                    <a:pt x="985141" y="0"/>
                  </a:lnTo>
                  <a:lnTo>
                    <a:pt x="985141" y="343872"/>
                  </a:lnTo>
                  <a:lnTo>
                    <a:pt x="0" y="343872"/>
                  </a:lnTo>
                  <a:close/>
                </a:path>
              </a:pathLst>
            </a:custGeom>
            <a:solidFill>
              <a:srgbClr val="FFFFFF"/>
            </a:solidFill>
            <a:ln w="9525" cap="sq">
              <a:solidFill>
                <a:srgbClr val="047BAD"/>
              </a:solidFill>
              <a:prstDash val="solid"/>
              <a:miter/>
            </a:ln>
          </p:spPr>
        </p:sp>
        <p:sp>
          <p:nvSpPr>
            <p:cNvPr id="14" name="TextBox 14"/>
            <p:cNvSpPr txBox="1"/>
            <p:nvPr/>
          </p:nvSpPr>
          <p:spPr>
            <a:xfrm>
              <a:off x="0" y="-38100"/>
              <a:ext cx="985141" cy="3819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r>
                <a:rPr lang="en-US" sz="1333" b="1">
                  <a:solidFill>
                    <a:srgbClr val="273357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Производства, цеха, профессии и должности</a:t>
              </a:r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107008" y="4588985"/>
            <a:ext cx="2493638" cy="870427"/>
            <a:chOff x="0" y="0"/>
            <a:chExt cx="985141" cy="343872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985141" cy="343872"/>
            </a:xfrm>
            <a:custGeom>
              <a:avLst/>
              <a:gdLst/>
              <a:ahLst/>
              <a:cxnLst/>
              <a:rect l="l" t="t" r="r" b="b"/>
              <a:pathLst>
                <a:path w="985141" h="343872">
                  <a:moveTo>
                    <a:pt x="0" y="0"/>
                  </a:moveTo>
                  <a:lnTo>
                    <a:pt x="985141" y="0"/>
                  </a:lnTo>
                  <a:lnTo>
                    <a:pt x="985141" y="343872"/>
                  </a:lnTo>
                  <a:lnTo>
                    <a:pt x="0" y="343872"/>
                  </a:lnTo>
                  <a:close/>
                </a:path>
              </a:pathLst>
            </a:custGeom>
            <a:solidFill>
              <a:srgbClr val="FFFFFF"/>
            </a:solidFill>
            <a:ln w="9525" cap="sq">
              <a:solidFill>
                <a:srgbClr val="047BAD"/>
              </a:solidFill>
              <a:prstDash val="solid"/>
              <a:miter/>
            </a:ln>
          </p:spPr>
        </p:sp>
        <p:sp>
          <p:nvSpPr>
            <p:cNvPr id="17" name="TextBox 17"/>
            <p:cNvSpPr txBox="1"/>
            <p:nvPr/>
          </p:nvSpPr>
          <p:spPr>
            <a:xfrm>
              <a:off x="0" y="-38100"/>
              <a:ext cx="985141" cy="3819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r>
                <a:rPr lang="en-US" sz="1333" b="1">
                  <a:solidFill>
                    <a:srgbClr val="273357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Вид и объем социальной гарантии</a:t>
              </a:r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6020937" y="1330543"/>
            <a:ext cx="5829269" cy="4597075"/>
            <a:chOff x="0" y="0"/>
            <a:chExt cx="2302921" cy="1816128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2302921" cy="1816128"/>
            </a:xfrm>
            <a:custGeom>
              <a:avLst/>
              <a:gdLst/>
              <a:ahLst/>
              <a:cxnLst/>
              <a:rect l="l" t="t" r="r" b="b"/>
              <a:pathLst>
                <a:path w="2302921" h="1816128">
                  <a:moveTo>
                    <a:pt x="0" y="0"/>
                  </a:moveTo>
                  <a:lnTo>
                    <a:pt x="2302921" y="0"/>
                  </a:lnTo>
                  <a:lnTo>
                    <a:pt x="2302921" y="1816128"/>
                  </a:lnTo>
                  <a:lnTo>
                    <a:pt x="0" y="1816128"/>
                  </a:lnTo>
                  <a:close/>
                </a:path>
              </a:pathLst>
            </a:custGeom>
            <a:solidFill>
              <a:srgbClr val="FFFFFF"/>
            </a:solidFill>
            <a:ln w="9525" cap="sq">
              <a:solidFill>
                <a:srgbClr val="273357"/>
              </a:solidFill>
              <a:prstDash val="sysDot"/>
              <a:miter/>
            </a:ln>
          </p:spPr>
        </p:sp>
        <p:sp>
          <p:nvSpPr>
            <p:cNvPr id="20" name="TextBox 20"/>
            <p:cNvSpPr txBox="1"/>
            <p:nvPr/>
          </p:nvSpPr>
          <p:spPr>
            <a:xfrm>
              <a:off x="0" y="-47625"/>
              <a:ext cx="2302921" cy="186375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just">
                <a:lnSpc>
                  <a:spcPts val="2613"/>
                </a:lnSpc>
              </a:pPr>
              <a:r>
                <a:rPr lang="en-US" sz="1867" b="1">
                  <a:solidFill>
                    <a:srgbClr val="273357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Недостатки: </a:t>
              </a:r>
            </a:p>
            <a:p>
              <a:pPr algn="just">
                <a:lnSpc>
                  <a:spcPts val="1680"/>
                </a:lnSpc>
              </a:pPr>
              <a:endParaRPr lang="en-US" sz="1867" b="1">
                <a:solidFill>
                  <a:srgbClr val="273357"/>
                </a:solidFill>
                <a:latin typeface="Montserrat Bold"/>
                <a:ea typeface="Montserrat Bold"/>
                <a:cs typeface="Montserrat Bold"/>
                <a:sym typeface="Montserrat Bold"/>
              </a:endParaRPr>
            </a:p>
            <a:p>
              <a:pPr algn="just">
                <a:lnSpc>
                  <a:spcPts val="1680"/>
                </a:lnSpc>
              </a:pPr>
              <a:r>
                <a:rPr lang="en-US" sz="1200" b="1">
                  <a:solidFill>
                    <a:srgbClr val="273357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Некачественная процедура</a:t>
              </a:r>
              <a:r>
                <a:rPr lang="en-US" sz="1200">
                  <a:solidFill>
                    <a:srgbClr val="273357"/>
                  </a:solidFill>
                  <a:latin typeface="Open Sans"/>
                  <a:ea typeface="Open Sans"/>
                  <a:cs typeface="Open Sans"/>
                  <a:sym typeface="Open Sans"/>
                </a:rPr>
                <a:t> проведения аттестации производственных объектов по условиям труда, </a:t>
              </a:r>
              <a:r>
                <a:rPr lang="en-US" sz="1200" b="1">
                  <a:solidFill>
                    <a:srgbClr val="273357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не отражающая</a:t>
              </a:r>
              <a:r>
                <a:rPr lang="en-US" sz="1200">
                  <a:solidFill>
                    <a:srgbClr val="273357"/>
                  </a:solidFill>
                  <a:latin typeface="Open Sans"/>
                  <a:ea typeface="Open Sans"/>
                  <a:cs typeface="Open Sans"/>
                  <a:sym typeface="Open Sans"/>
                </a:rPr>
                <a:t> фактические условия труда и </a:t>
              </a:r>
              <a:r>
                <a:rPr lang="en-US" sz="1200" b="1">
                  <a:solidFill>
                    <a:srgbClr val="273357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не учитывающая</a:t>
              </a:r>
              <a:r>
                <a:rPr lang="en-US" sz="1200">
                  <a:solidFill>
                    <a:srgbClr val="273357"/>
                  </a:solidFill>
                  <a:latin typeface="Open Sans"/>
                  <a:ea typeface="Open Sans"/>
                  <a:cs typeface="Open Sans"/>
                  <a:sym typeface="Open Sans"/>
                </a:rPr>
                <a:t> риски и дифференциацию для каждого рабочего места;</a:t>
              </a:r>
            </a:p>
            <a:p>
              <a:pPr algn="just">
                <a:lnSpc>
                  <a:spcPts val="747"/>
                </a:lnSpc>
              </a:pPr>
              <a:endParaRPr lang="en-US" sz="1200">
                <a:solidFill>
                  <a:srgbClr val="273357"/>
                </a:solidFill>
                <a:latin typeface="Open Sans"/>
                <a:ea typeface="Open Sans"/>
                <a:cs typeface="Open Sans"/>
                <a:sym typeface="Open Sans"/>
              </a:endParaRPr>
            </a:p>
            <a:p>
              <a:pPr algn="just">
                <a:lnSpc>
                  <a:spcPts val="1680"/>
                </a:lnSpc>
              </a:pPr>
              <a:r>
                <a:rPr lang="en-US" sz="1200" b="1">
                  <a:solidFill>
                    <a:srgbClr val="273357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Различия </a:t>
              </a:r>
              <a:r>
                <a:rPr lang="en-US" sz="1200">
                  <a:solidFill>
                    <a:srgbClr val="273357"/>
                  </a:solidFill>
                  <a:latin typeface="Open Sans"/>
                  <a:ea typeface="Open Sans"/>
                  <a:cs typeface="Open Sans"/>
                  <a:sym typeface="Open Sans"/>
                </a:rPr>
                <a:t>в наименовании профессии </a:t>
              </a:r>
              <a:r>
                <a:rPr lang="en-US" sz="1200" b="1">
                  <a:solidFill>
                    <a:srgbClr val="273357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Списка и Единого тарифно-квалификационного справочник;</a:t>
              </a:r>
            </a:p>
            <a:p>
              <a:pPr algn="just">
                <a:lnSpc>
                  <a:spcPts val="747"/>
                </a:lnSpc>
              </a:pPr>
              <a:endParaRPr lang="en-US" sz="1200" b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endParaRPr>
            </a:p>
            <a:p>
              <a:pPr algn="just">
                <a:lnSpc>
                  <a:spcPts val="1680"/>
                </a:lnSpc>
              </a:pPr>
              <a:r>
                <a:rPr lang="en-US" sz="1200" b="1">
                  <a:solidFill>
                    <a:srgbClr val="273357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Несоответствие </a:t>
              </a:r>
              <a:r>
                <a:rPr lang="en-US" sz="1200">
                  <a:solidFill>
                    <a:srgbClr val="273357"/>
                  </a:solidFill>
                  <a:latin typeface="Open Sans"/>
                  <a:ea typeface="Open Sans"/>
                  <a:cs typeface="Open Sans"/>
                  <a:sym typeface="Open Sans"/>
                </a:rPr>
                <a:t>наименования разделов </a:t>
              </a:r>
              <a:r>
                <a:rPr lang="en-US" sz="1200" b="1">
                  <a:solidFill>
                    <a:srgbClr val="273357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Списка с отраслями экономической деятельности ОКЭД; </a:t>
              </a:r>
            </a:p>
            <a:p>
              <a:pPr algn="just">
                <a:lnSpc>
                  <a:spcPts val="747"/>
                </a:lnSpc>
              </a:pPr>
              <a:endParaRPr lang="en-US" sz="1200" b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endParaRPr>
            </a:p>
            <a:p>
              <a:pPr algn="just">
                <a:lnSpc>
                  <a:spcPts val="1680"/>
                </a:lnSpc>
              </a:pPr>
              <a:r>
                <a:rPr lang="en-US" sz="1200" b="1">
                  <a:solidFill>
                    <a:srgbClr val="273357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Дублирование профессии </a:t>
              </a:r>
              <a:r>
                <a:rPr lang="en-US" sz="1200">
                  <a:solidFill>
                    <a:srgbClr val="273357"/>
                  </a:solidFill>
                  <a:latin typeface="Open Sans"/>
                  <a:ea typeface="Open Sans"/>
                  <a:cs typeface="Open Sans"/>
                  <a:sym typeface="Open Sans"/>
                </a:rPr>
                <a:t>в Списке без уточнения отраслевой характеристики выполняемых работ;</a:t>
              </a:r>
            </a:p>
            <a:p>
              <a:pPr algn="just">
                <a:lnSpc>
                  <a:spcPts val="747"/>
                </a:lnSpc>
              </a:pPr>
              <a:endParaRPr lang="en-US" sz="1200">
                <a:solidFill>
                  <a:srgbClr val="273357"/>
                </a:solidFill>
                <a:latin typeface="Open Sans"/>
                <a:ea typeface="Open Sans"/>
                <a:cs typeface="Open Sans"/>
                <a:sym typeface="Open Sans"/>
              </a:endParaRPr>
            </a:p>
            <a:p>
              <a:pPr algn="just">
                <a:lnSpc>
                  <a:spcPts val="1680"/>
                </a:lnSpc>
              </a:pPr>
              <a:r>
                <a:rPr lang="en-US" sz="1200" b="1">
                  <a:solidFill>
                    <a:srgbClr val="273357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Отсутствие качественных и достоверных данных</a:t>
              </a:r>
              <a:r>
                <a:rPr lang="en-US" sz="1200">
                  <a:solidFill>
                    <a:srgbClr val="273357"/>
                  </a:solidFill>
                  <a:latin typeface="Open Sans"/>
                  <a:ea typeface="Open Sans"/>
                  <a:cs typeface="Open Sans"/>
                  <a:sym typeface="Open Sans"/>
                </a:rPr>
                <a:t> по численности занятости во ВОУТ, что </a:t>
              </a:r>
              <a:r>
                <a:rPr lang="en-US" sz="1200" b="1">
                  <a:solidFill>
                    <a:srgbClr val="273357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усложняет </a:t>
              </a:r>
              <a:r>
                <a:rPr lang="en-US" sz="1200">
                  <a:solidFill>
                    <a:srgbClr val="273357"/>
                  </a:solidFill>
                  <a:latin typeface="Open Sans"/>
                  <a:ea typeface="Open Sans"/>
                  <a:cs typeface="Open Sans"/>
                  <a:sym typeface="Open Sans"/>
                </a:rPr>
                <a:t>процедуру определения контингента имеющих право на получение и оценки фактических затрат; </a:t>
              </a:r>
            </a:p>
            <a:p>
              <a:pPr algn="just">
                <a:lnSpc>
                  <a:spcPts val="747"/>
                </a:lnSpc>
              </a:pPr>
              <a:endParaRPr lang="en-US" sz="1200">
                <a:solidFill>
                  <a:srgbClr val="273357"/>
                </a:solidFill>
                <a:latin typeface="Open Sans"/>
                <a:ea typeface="Open Sans"/>
                <a:cs typeface="Open Sans"/>
                <a:sym typeface="Open Sans"/>
              </a:endParaRPr>
            </a:p>
            <a:p>
              <a:pPr algn="just">
                <a:lnSpc>
                  <a:spcPts val="1680"/>
                </a:lnSpc>
              </a:pPr>
              <a:r>
                <a:rPr lang="en-US" sz="1200" b="1">
                  <a:solidFill>
                    <a:srgbClr val="273357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Компенсаторный характер</a:t>
              </a:r>
              <a:r>
                <a:rPr lang="en-US" sz="1200">
                  <a:solidFill>
                    <a:srgbClr val="273357"/>
                  </a:solidFill>
                  <a:latin typeface="Open Sans"/>
                  <a:ea typeface="Open Sans"/>
                  <a:cs typeface="Open Sans"/>
                  <a:sym typeface="Open Sans"/>
                </a:rPr>
                <a:t> предоставления соцгарантий несет б</a:t>
              </a:r>
              <a:r>
                <a:rPr lang="en-US" sz="1200" b="1">
                  <a:solidFill>
                    <a:srgbClr val="273357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ольшую финансовую нагрузку</a:t>
              </a:r>
              <a:r>
                <a:rPr lang="en-US" sz="1200">
                  <a:solidFill>
                    <a:srgbClr val="273357"/>
                  </a:solidFill>
                  <a:latin typeface="Open Sans"/>
                  <a:ea typeface="Open Sans"/>
                  <a:cs typeface="Open Sans"/>
                  <a:sym typeface="Open Sans"/>
                </a:rPr>
                <a:t> на работодателя и </a:t>
              </a:r>
              <a:r>
                <a:rPr lang="en-US" sz="1200" b="1">
                  <a:solidFill>
                    <a:srgbClr val="273357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не стимулирует</a:t>
              </a:r>
              <a:r>
                <a:rPr lang="en-US" sz="1200">
                  <a:solidFill>
                    <a:srgbClr val="273357"/>
                  </a:solidFill>
                  <a:latin typeface="Open Sans"/>
                  <a:ea typeface="Open Sans"/>
                  <a:cs typeface="Open Sans"/>
                  <a:sym typeface="Open Sans"/>
                </a:rPr>
                <a:t> его к устранению негативного воздействия вредных и опасных производственных факторов и улучшению условий труда.</a:t>
              </a:r>
            </a:p>
          </p:txBody>
        </p:sp>
      </p:grpSp>
      <p:sp>
        <p:nvSpPr>
          <p:cNvPr id="21" name="TextBox 21"/>
          <p:cNvSpPr txBox="1"/>
          <p:nvPr/>
        </p:nvSpPr>
        <p:spPr>
          <a:xfrm>
            <a:off x="1629385" y="174979"/>
            <a:ext cx="10220821" cy="105368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00"/>
              </a:lnSpc>
              <a:spcBef>
                <a:spcPct val="0"/>
              </a:spcBef>
            </a:pPr>
            <a:r>
              <a:rPr lang="en-US" sz="2000" b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Действующая модель предоставления социальных гарантий при работе во</a:t>
            </a:r>
          </a:p>
          <a:p>
            <a:pPr algn="ctr">
              <a:lnSpc>
                <a:spcPts val="2800"/>
              </a:lnSpc>
              <a:spcBef>
                <a:spcPct val="0"/>
              </a:spcBef>
            </a:pPr>
            <a:r>
              <a:rPr lang="en-US" sz="2000" b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вредных и (или) опасных условиях труда в Казахстане</a:t>
            </a:r>
          </a:p>
        </p:txBody>
      </p:sp>
      <p:sp>
        <p:nvSpPr>
          <p:cNvPr id="22" name="TextBox 22"/>
          <p:cNvSpPr txBox="1"/>
          <p:nvPr/>
        </p:nvSpPr>
        <p:spPr>
          <a:xfrm>
            <a:off x="177375" y="1086024"/>
            <a:ext cx="5372496" cy="101213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1587"/>
              </a:lnSpc>
              <a:spcBef>
                <a:spcPct val="0"/>
              </a:spcBef>
            </a:pPr>
            <a:r>
              <a:rPr lang="en-US" sz="1133" b="1">
                <a:solidFill>
                  <a:srgbClr val="047BAD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Социальные гарантии</a:t>
            </a:r>
            <a:r>
              <a:rPr lang="en-US" sz="1133">
                <a:solidFill>
                  <a:srgbClr val="273357"/>
                </a:solidFill>
                <a:latin typeface="Open Sans"/>
                <a:ea typeface="Open Sans"/>
                <a:cs typeface="Open Sans"/>
                <a:sym typeface="Open Sans"/>
              </a:rPr>
              <a:t> (дополнительный отпуск, сокращенный рабочий день, повышенный размер оплаты труда, обязательные профессиональные взносы и пр.) предоставляются на основе </a:t>
            </a:r>
            <a:r>
              <a:rPr lang="en-US" sz="1133">
                <a:solidFill>
                  <a:srgbClr val="047BAD"/>
                </a:solidFill>
                <a:latin typeface="Open Sans"/>
                <a:ea typeface="Open Sans"/>
                <a:cs typeface="Open Sans"/>
                <a:sym typeface="Open Sans"/>
              </a:rPr>
              <a:t>списочного подхода</a:t>
            </a:r>
            <a:r>
              <a:rPr lang="en-US" sz="1133">
                <a:solidFill>
                  <a:srgbClr val="273357"/>
                </a:solidFill>
                <a:latin typeface="Open Sans"/>
                <a:ea typeface="Open Sans"/>
                <a:cs typeface="Open Sans"/>
                <a:sym typeface="Open Sans"/>
              </a:rPr>
              <a:t> с подтверждением результатами </a:t>
            </a:r>
            <a:r>
              <a:rPr lang="en-US" sz="1133">
                <a:solidFill>
                  <a:srgbClr val="047BAD"/>
                </a:solidFill>
                <a:latin typeface="Open Sans"/>
                <a:ea typeface="Open Sans"/>
                <a:cs typeface="Open Sans"/>
                <a:sym typeface="Open Sans"/>
              </a:rPr>
              <a:t>аттестации производственных объектов по условиям труда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177375" y="5529261"/>
            <a:ext cx="5372496" cy="80695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1587"/>
              </a:lnSpc>
              <a:spcBef>
                <a:spcPct val="0"/>
              </a:spcBef>
            </a:pPr>
            <a:r>
              <a:rPr lang="en-US" sz="11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В случае </a:t>
            </a:r>
            <a:r>
              <a:rPr lang="en-US" sz="1133">
                <a:solidFill>
                  <a:srgbClr val="047BAD"/>
                </a:solidFill>
                <a:latin typeface="Open Sans"/>
                <a:ea typeface="Open Sans"/>
                <a:cs typeface="Open Sans"/>
                <a:sym typeface="Open Sans"/>
              </a:rPr>
              <a:t>непроведения аттестации производственных объектов</a:t>
            </a:r>
            <a:r>
              <a:rPr lang="en-US" sz="11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по условиям труда, а также по рабочим местам, которые не подлежат аттестации социальные гарантий согласно Списка производств, цехов, профессии и должностей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/>
          <p:nvPr/>
        </p:nvGrpSpPr>
        <p:grpSpPr>
          <a:xfrm rot="-5400000">
            <a:off x="6692333" y="1671842"/>
            <a:ext cx="4316109" cy="4427705"/>
            <a:chOff x="0" y="0"/>
            <a:chExt cx="883399" cy="90624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883399" cy="906240"/>
            </a:xfrm>
            <a:custGeom>
              <a:avLst/>
              <a:gdLst/>
              <a:ahLst/>
              <a:cxnLst/>
              <a:rect l="l" t="t" r="r" b="b"/>
              <a:pathLst>
                <a:path w="883399" h="906240">
                  <a:moveTo>
                    <a:pt x="441699" y="0"/>
                  </a:moveTo>
                  <a:cubicBezTo>
                    <a:pt x="197756" y="0"/>
                    <a:pt x="0" y="202869"/>
                    <a:pt x="0" y="453120"/>
                  </a:cubicBezTo>
                  <a:cubicBezTo>
                    <a:pt x="0" y="703371"/>
                    <a:pt x="197756" y="906240"/>
                    <a:pt x="441699" y="906240"/>
                  </a:cubicBezTo>
                  <a:cubicBezTo>
                    <a:pt x="685643" y="906240"/>
                    <a:pt x="883399" y="703371"/>
                    <a:pt x="883399" y="453120"/>
                  </a:cubicBezTo>
                  <a:cubicBezTo>
                    <a:pt x="883399" y="202869"/>
                    <a:pt x="685643" y="0"/>
                    <a:pt x="441699" y="0"/>
                  </a:cubicBezTo>
                  <a:close/>
                </a:path>
              </a:pathLst>
            </a:custGeom>
            <a:solidFill>
              <a:srgbClr val="FFFFFF"/>
            </a:solidFill>
            <a:ln w="38100" cap="sq">
              <a:solidFill>
                <a:srgbClr val="047BAD"/>
              </a:solidFill>
              <a:prstDash val="sysDot"/>
              <a:miter/>
            </a:ln>
          </p:spPr>
        </p:sp>
        <p:sp>
          <p:nvSpPr>
            <p:cNvPr id="5" name="TextBox 5"/>
            <p:cNvSpPr txBox="1"/>
            <p:nvPr/>
          </p:nvSpPr>
          <p:spPr>
            <a:xfrm>
              <a:off x="82819" y="37335"/>
              <a:ext cx="717762" cy="78394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1200"/>
            </a:p>
          </p:txBody>
        </p:sp>
      </p:grpSp>
      <p:grpSp>
        <p:nvGrpSpPr>
          <p:cNvPr id="6" name="Group 6"/>
          <p:cNvGrpSpPr/>
          <p:nvPr/>
        </p:nvGrpSpPr>
        <p:grpSpPr>
          <a:xfrm rot="-2387686">
            <a:off x="7814170" y="2849477"/>
            <a:ext cx="2072435" cy="2072435"/>
            <a:chOff x="0" y="0"/>
            <a:chExt cx="812800" cy="812800"/>
          </a:xfrm>
        </p:grpSpPr>
        <p:sp>
          <p:nvSpPr>
            <p:cNvPr id="7" name="Freeform 7" descr="18 198 работников, заняты во вредных и (или)  опасных условиях труда 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FFFF"/>
            </a:solidFill>
            <a:ln w="38100" cap="sq">
              <a:solidFill>
                <a:srgbClr val="000000"/>
              </a:solidFill>
              <a:prstDash val="dash"/>
              <a:miter/>
            </a:ln>
          </p:spPr>
        </p:sp>
        <p:sp>
          <p:nvSpPr>
            <p:cNvPr id="8" name="TextBox 8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1200"/>
            </a:p>
          </p:txBody>
        </p:sp>
      </p:grpSp>
      <p:grpSp>
        <p:nvGrpSpPr>
          <p:cNvPr id="9" name="Group 9"/>
          <p:cNvGrpSpPr/>
          <p:nvPr/>
        </p:nvGrpSpPr>
        <p:grpSpPr>
          <a:xfrm rot="-2387686">
            <a:off x="6926767" y="1168305"/>
            <a:ext cx="1479131" cy="2057400"/>
            <a:chOff x="0" y="0"/>
            <a:chExt cx="2958262" cy="4114800"/>
          </a:xfrm>
        </p:grpSpPr>
        <p:grpSp>
          <p:nvGrpSpPr>
            <p:cNvPr id="10" name="Group 10"/>
            <p:cNvGrpSpPr/>
            <p:nvPr/>
          </p:nvGrpSpPr>
          <p:grpSpPr>
            <a:xfrm rot="5400000">
              <a:off x="-578269" y="1028700"/>
              <a:ext cx="4114800" cy="2057400"/>
              <a:chOff x="0" y="0"/>
              <a:chExt cx="812800" cy="4064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0" y="0"/>
                <a:ext cx="812800" cy="4064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406400">
                    <a:moveTo>
                      <a:pt x="609600" y="0"/>
                    </a:moveTo>
                    <a:lnTo>
                      <a:pt x="0" y="0"/>
                    </a:lnTo>
                    <a:lnTo>
                      <a:pt x="0" y="406400"/>
                    </a:lnTo>
                    <a:lnTo>
                      <a:pt x="609600" y="406400"/>
                    </a:lnTo>
                    <a:lnTo>
                      <a:pt x="812800" y="203200"/>
                    </a:lnTo>
                    <a:lnTo>
                      <a:pt x="609600" y="0"/>
                    </a:lnTo>
                    <a:close/>
                  </a:path>
                </a:pathLst>
              </a:custGeom>
              <a:solidFill>
                <a:srgbClr val="C1FF72"/>
              </a:solidFill>
            </p:spPr>
          </p:sp>
          <p:sp>
            <p:nvSpPr>
              <p:cNvPr id="12" name="TextBox 12"/>
              <p:cNvSpPr txBox="1"/>
              <p:nvPr/>
            </p:nvSpPr>
            <p:spPr>
              <a:xfrm>
                <a:off x="0" y="-47625"/>
                <a:ext cx="698500" cy="454025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>
                  <a:lnSpc>
                    <a:spcPts val="1867"/>
                  </a:lnSpc>
                </a:pPr>
                <a:endParaRPr sz="1200"/>
              </a:p>
            </p:txBody>
          </p:sp>
        </p:grpSp>
        <p:grpSp>
          <p:nvGrpSpPr>
            <p:cNvPr id="13" name="Group 13"/>
            <p:cNvGrpSpPr/>
            <p:nvPr/>
          </p:nvGrpSpPr>
          <p:grpSpPr>
            <a:xfrm>
              <a:off x="0" y="397409"/>
              <a:ext cx="2958262" cy="2958262"/>
              <a:chOff x="0" y="0"/>
              <a:chExt cx="812800" cy="812800"/>
            </a:xfrm>
          </p:grpSpPr>
          <p:sp>
            <p:nvSpPr>
              <p:cNvPr id="14" name="Freeform 14"/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00" cap="sq">
                <a:solidFill>
                  <a:srgbClr val="C1FF72"/>
                </a:solidFill>
                <a:prstDash val="solid"/>
                <a:miter/>
              </a:ln>
            </p:spPr>
          </p:sp>
          <p:sp>
            <p:nvSpPr>
              <p:cNvPr id="15" name="TextBox 15"/>
              <p:cNvSpPr txBox="1"/>
              <p:nvPr/>
            </p:nvSpPr>
            <p:spPr>
              <a:xfrm>
                <a:off x="76200" y="28575"/>
                <a:ext cx="660400" cy="708025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>
                  <a:lnSpc>
                    <a:spcPts val="1867"/>
                  </a:lnSpc>
                </a:pPr>
                <a:endParaRPr sz="1200"/>
              </a:p>
            </p:txBody>
          </p:sp>
        </p:grpSp>
      </p:grpSp>
      <p:grpSp>
        <p:nvGrpSpPr>
          <p:cNvPr id="16" name="Group 16"/>
          <p:cNvGrpSpPr/>
          <p:nvPr/>
        </p:nvGrpSpPr>
        <p:grpSpPr>
          <a:xfrm rot="2401380">
            <a:off x="9233234" y="1143275"/>
            <a:ext cx="1479131" cy="2057400"/>
            <a:chOff x="0" y="0"/>
            <a:chExt cx="2958262" cy="4114800"/>
          </a:xfrm>
        </p:grpSpPr>
        <p:grpSp>
          <p:nvGrpSpPr>
            <p:cNvPr id="17" name="Group 17"/>
            <p:cNvGrpSpPr/>
            <p:nvPr/>
          </p:nvGrpSpPr>
          <p:grpSpPr>
            <a:xfrm rot="5400000">
              <a:off x="-578269" y="1028700"/>
              <a:ext cx="4114800" cy="2057400"/>
              <a:chOff x="0" y="0"/>
              <a:chExt cx="812800" cy="406400"/>
            </a:xfrm>
          </p:grpSpPr>
          <p:sp>
            <p:nvSpPr>
              <p:cNvPr id="18" name="Freeform 18"/>
              <p:cNvSpPr/>
              <p:nvPr/>
            </p:nvSpPr>
            <p:spPr>
              <a:xfrm>
                <a:off x="0" y="0"/>
                <a:ext cx="812800" cy="4064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406400">
                    <a:moveTo>
                      <a:pt x="609600" y="0"/>
                    </a:moveTo>
                    <a:lnTo>
                      <a:pt x="0" y="0"/>
                    </a:lnTo>
                    <a:lnTo>
                      <a:pt x="0" y="406400"/>
                    </a:lnTo>
                    <a:lnTo>
                      <a:pt x="609600" y="406400"/>
                    </a:lnTo>
                    <a:lnTo>
                      <a:pt x="812800" y="203200"/>
                    </a:lnTo>
                    <a:lnTo>
                      <a:pt x="609600" y="0"/>
                    </a:lnTo>
                    <a:close/>
                  </a:path>
                </a:pathLst>
              </a:custGeom>
              <a:solidFill>
                <a:srgbClr val="5D9CD5"/>
              </a:solidFill>
              <a:ln w="38100" cap="sq">
                <a:solidFill>
                  <a:srgbClr val="5D9CD5"/>
                </a:solidFill>
                <a:prstDash val="solid"/>
                <a:miter/>
              </a:ln>
            </p:spPr>
          </p:sp>
          <p:sp>
            <p:nvSpPr>
              <p:cNvPr id="19" name="TextBox 19"/>
              <p:cNvSpPr txBox="1"/>
              <p:nvPr/>
            </p:nvSpPr>
            <p:spPr>
              <a:xfrm>
                <a:off x="0" y="-47625"/>
                <a:ext cx="698500" cy="454025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>
                  <a:lnSpc>
                    <a:spcPts val="1867"/>
                  </a:lnSpc>
                </a:pPr>
                <a:endParaRPr sz="1200"/>
              </a:p>
            </p:txBody>
          </p:sp>
        </p:grpSp>
        <p:grpSp>
          <p:nvGrpSpPr>
            <p:cNvPr id="20" name="Group 20"/>
            <p:cNvGrpSpPr/>
            <p:nvPr/>
          </p:nvGrpSpPr>
          <p:grpSpPr>
            <a:xfrm>
              <a:off x="0" y="397409"/>
              <a:ext cx="2958262" cy="2958262"/>
              <a:chOff x="0" y="0"/>
              <a:chExt cx="812800" cy="8128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00" cap="sq">
                <a:solidFill>
                  <a:srgbClr val="5D9CD5"/>
                </a:solidFill>
                <a:prstDash val="solid"/>
                <a:miter/>
              </a:ln>
            </p:spPr>
          </p:sp>
          <p:sp>
            <p:nvSpPr>
              <p:cNvPr id="22" name="TextBox 22"/>
              <p:cNvSpPr txBox="1"/>
              <p:nvPr/>
            </p:nvSpPr>
            <p:spPr>
              <a:xfrm>
                <a:off x="76200" y="28575"/>
                <a:ext cx="660400" cy="708025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>
                  <a:lnSpc>
                    <a:spcPts val="1867"/>
                  </a:lnSpc>
                </a:pPr>
                <a:endParaRPr sz="1200"/>
              </a:p>
            </p:txBody>
          </p:sp>
        </p:grpSp>
      </p:grpSp>
      <p:grpSp>
        <p:nvGrpSpPr>
          <p:cNvPr id="23" name="Group 23"/>
          <p:cNvGrpSpPr/>
          <p:nvPr/>
        </p:nvGrpSpPr>
        <p:grpSpPr>
          <a:xfrm rot="-5400000">
            <a:off x="6057239" y="2804221"/>
            <a:ext cx="1479131" cy="2057400"/>
            <a:chOff x="0" y="0"/>
            <a:chExt cx="2958262" cy="4114800"/>
          </a:xfrm>
        </p:grpSpPr>
        <p:grpSp>
          <p:nvGrpSpPr>
            <p:cNvPr id="24" name="Group 24"/>
            <p:cNvGrpSpPr/>
            <p:nvPr/>
          </p:nvGrpSpPr>
          <p:grpSpPr>
            <a:xfrm rot="5400000">
              <a:off x="-578269" y="1028700"/>
              <a:ext cx="4114800" cy="2057400"/>
              <a:chOff x="0" y="0"/>
              <a:chExt cx="812800" cy="406400"/>
            </a:xfrm>
          </p:grpSpPr>
          <p:sp>
            <p:nvSpPr>
              <p:cNvPr id="25" name="Freeform 25"/>
              <p:cNvSpPr/>
              <p:nvPr/>
            </p:nvSpPr>
            <p:spPr>
              <a:xfrm>
                <a:off x="0" y="0"/>
                <a:ext cx="812800" cy="4064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406400">
                    <a:moveTo>
                      <a:pt x="609600" y="0"/>
                    </a:moveTo>
                    <a:lnTo>
                      <a:pt x="0" y="0"/>
                    </a:lnTo>
                    <a:lnTo>
                      <a:pt x="0" y="406400"/>
                    </a:lnTo>
                    <a:lnTo>
                      <a:pt x="609600" y="406400"/>
                    </a:lnTo>
                    <a:lnTo>
                      <a:pt x="812800" y="203200"/>
                    </a:lnTo>
                    <a:lnTo>
                      <a:pt x="609600" y="0"/>
                    </a:lnTo>
                    <a:close/>
                  </a:path>
                </a:pathLst>
              </a:custGeom>
              <a:solidFill>
                <a:srgbClr val="273357"/>
              </a:solidFill>
            </p:spPr>
          </p:sp>
          <p:sp>
            <p:nvSpPr>
              <p:cNvPr id="26" name="TextBox 26"/>
              <p:cNvSpPr txBox="1"/>
              <p:nvPr/>
            </p:nvSpPr>
            <p:spPr>
              <a:xfrm>
                <a:off x="0" y="-47625"/>
                <a:ext cx="698500" cy="454025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>
                  <a:lnSpc>
                    <a:spcPts val="1867"/>
                  </a:lnSpc>
                </a:pPr>
                <a:endParaRPr sz="1200"/>
              </a:p>
            </p:txBody>
          </p:sp>
        </p:grpSp>
        <p:grpSp>
          <p:nvGrpSpPr>
            <p:cNvPr id="27" name="Group 27"/>
            <p:cNvGrpSpPr/>
            <p:nvPr/>
          </p:nvGrpSpPr>
          <p:grpSpPr>
            <a:xfrm>
              <a:off x="0" y="397409"/>
              <a:ext cx="2958262" cy="2958262"/>
              <a:chOff x="0" y="0"/>
              <a:chExt cx="812800" cy="812800"/>
            </a:xfrm>
          </p:grpSpPr>
          <p:sp>
            <p:nvSpPr>
              <p:cNvPr id="28" name="Freeform 28"/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00" cap="sq">
                <a:solidFill>
                  <a:srgbClr val="273357"/>
                </a:solidFill>
                <a:prstDash val="solid"/>
                <a:miter/>
              </a:ln>
            </p:spPr>
          </p:sp>
          <p:sp>
            <p:nvSpPr>
              <p:cNvPr id="29" name="TextBox 29"/>
              <p:cNvSpPr txBox="1"/>
              <p:nvPr/>
            </p:nvSpPr>
            <p:spPr>
              <a:xfrm>
                <a:off x="76200" y="28575"/>
                <a:ext cx="660400" cy="708025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>
                  <a:lnSpc>
                    <a:spcPts val="1867"/>
                  </a:lnSpc>
                </a:pPr>
                <a:endParaRPr sz="1200"/>
              </a:p>
            </p:txBody>
          </p:sp>
        </p:grpSp>
      </p:grpSp>
      <p:grpSp>
        <p:nvGrpSpPr>
          <p:cNvPr id="30" name="Group 30"/>
          <p:cNvGrpSpPr/>
          <p:nvPr/>
        </p:nvGrpSpPr>
        <p:grpSpPr>
          <a:xfrm rot="-8416148">
            <a:off x="6884529" y="4553747"/>
            <a:ext cx="1479131" cy="2057400"/>
            <a:chOff x="0" y="0"/>
            <a:chExt cx="2958262" cy="4114800"/>
          </a:xfrm>
        </p:grpSpPr>
        <p:grpSp>
          <p:nvGrpSpPr>
            <p:cNvPr id="31" name="Group 31"/>
            <p:cNvGrpSpPr/>
            <p:nvPr/>
          </p:nvGrpSpPr>
          <p:grpSpPr>
            <a:xfrm rot="5400000">
              <a:off x="-578269" y="1028700"/>
              <a:ext cx="4114800" cy="2057400"/>
              <a:chOff x="0" y="0"/>
              <a:chExt cx="812800" cy="406400"/>
            </a:xfrm>
          </p:grpSpPr>
          <p:sp>
            <p:nvSpPr>
              <p:cNvPr id="32" name="Freeform 32"/>
              <p:cNvSpPr/>
              <p:nvPr/>
            </p:nvSpPr>
            <p:spPr>
              <a:xfrm>
                <a:off x="0" y="0"/>
                <a:ext cx="812800" cy="4064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406400">
                    <a:moveTo>
                      <a:pt x="609600" y="0"/>
                    </a:moveTo>
                    <a:lnTo>
                      <a:pt x="0" y="0"/>
                    </a:lnTo>
                    <a:lnTo>
                      <a:pt x="0" y="406400"/>
                    </a:lnTo>
                    <a:lnTo>
                      <a:pt x="609600" y="406400"/>
                    </a:lnTo>
                    <a:lnTo>
                      <a:pt x="812800" y="203200"/>
                    </a:lnTo>
                    <a:lnTo>
                      <a:pt x="609600" y="0"/>
                    </a:lnTo>
                    <a:close/>
                  </a:path>
                </a:pathLst>
              </a:custGeom>
              <a:solidFill>
                <a:srgbClr val="FF5757"/>
              </a:solidFill>
            </p:spPr>
          </p:sp>
          <p:sp>
            <p:nvSpPr>
              <p:cNvPr id="33" name="TextBox 33"/>
              <p:cNvSpPr txBox="1"/>
              <p:nvPr/>
            </p:nvSpPr>
            <p:spPr>
              <a:xfrm>
                <a:off x="0" y="-47625"/>
                <a:ext cx="698500" cy="454025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>
                  <a:lnSpc>
                    <a:spcPts val="1867"/>
                  </a:lnSpc>
                </a:pPr>
                <a:endParaRPr sz="1200"/>
              </a:p>
            </p:txBody>
          </p:sp>
        </p:grpSp>
        <p:grpSp>
          <p:nvGrpSpPr>
            <p:cNvPr id="34" name="Group 34"/>
            <p:cNvGrpSpPr/>
            <p:nvPr/>
          </p:nvGrpSpPr>
          <p:grpSpPr>
            <a:xfrm>
              <a:off x="0" y="397409"/>
              <a:ext cx="2958262" cy="2958262"/>
              <a:chOff x="0" y="0"/>
              <a:chExt cx="812800" cy="812800"/>
            </a:xfrm>
          </p:grpSpPr>
          <p:sp>
            <p:nvSpPr>
              <p:cNvPr id="35" name="Freeform 35"/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00" cap="sq">
                <a:solidFill>
                  <a:srgbClr val="FF5757"/>
                </a:solidFill>
                <a:prstDash val="solid"/>
                <a:miter/>
              </a:ln>
            </p:spPr>
          </p:sp>
          <p:sp>
            <p:nvSpPr>
              <p:cNvPr id="36" name="TextBox 36"/>
              <p:cNvSpPr txBox="1"/>
              <p:nvPr/>
            </p:nvSpPr>
            <p:spPr>
              <a:xfrm>
                <a:off x="76200" y="28575"/>
                <a:ext cx="660400" cy="708025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>
                  <a:lnSpc>
                    <a:spcPts val="1867"/>
                  </a:lnSpc>
                </a:pPr>
                <a:endParaRPr sz="1200"/>
              </a:p>
            </p:txBody>
          </p:sp>
        </p:grpSp>
      </p:grpSp>
      <p:grpSp>
        <p:nvGrpSpPr>
          <p:cNvPr id="37" name="Group 37"/>
          <p:cNvGrpSpPr/>
          <p:nvPr/>
        </p:nvGrpSpPr>
        <p:grpSpPr>
          <a:xfrm rot="5400000">
            <a:off x="10166684" y="2804221"/>
            <a:ext cx="1479131" cy="2057400"/>
            <a:chOff x="0" y="0"/>
            <a:chExt cx="2958262" cy="4114800"/>
          </a:xfrm>
        </p:grpSpPr>
        <p:grpSp>
          <p:nvGrpSpPr>
            <p:cNvPr id="38" name="Group 38"/>
            <p:cNvGrpSpPr/>
            <p:nvPr/>
          </p:nvGrpSpPr>
          <p:grpSpPr>
            <a:xfrm rot="5400000">
              <a:off x="-578269" y="1028700"/>
              <a:ext cx="4114800" cy="2057400"/>
              <a:chOff x="0" y="0"/>
              <a:chExt cx="812800" cy="406400"/>
            </a:xfrm>
          </p:grpSpPr>
          <p:sp>
            <p:nvSpPr>
              <p:cNvPr id="39" name="Freeform 39"/>
              <p:cNvSpPr/>
              <p:nvPr/>
            </p:nvSpPr>
            <p:spPr>
              <a:xfrm>
                <a:off x="0" y="0"/>
                <a:ext cx="812800" cy="4064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406400">
                    <a:moveTo>
                      <a:pt x="609600" y="0"/>
                    </a:moveTo>
                    <a:lnTo>
                      <a:pt x="0" y="0"/>
                    </a:lnTo>
                    <a:lnTo>
                      <a:pt x="0" y="406400"/>
                    </a:lnTo>
                    <a:lnTo>
                      <a:pt x="609600" y="406400"/>
                    </a:lnTo>
                    <a:lnTo>
                      <a:pt x="812800" y="203200"/>
                    </a:lnTo>
                    <a:lnTo>
                      <a:pt x="609600" y="0"/>
                    </a:lnTo>
                    <a:close/>
                  </a:path>
                </a:pathLst>
              </a:custGeom>
              <a:solidFill>
                <a:srgbClr val="ED7D32"/>
              </a:solidFill>
            </p:spPr>
          </p:sp>
          <p:sp>
            <p:nvSpPr>
              <p:cNvPr id="40" name="TextBox 40"/>
              <p:cNvSpPr txBox="1"/>
              <p:nvPr/>
            </p:nvSpPr>
            <p:spPr>
              <a:xfrm>
                <a:off x="0" y="-47625"/>
                <a:ext cx="698500" cy="454025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>
                  <a:lnSpc>
                    <a:spcPts val="1867"/>
                  </a:lnSpc>
                </a:pPr>
                <a:endParaRPr sz="1200"/>
              </a:p>
            </p:txBody>
          </p:sp>
        </p:grpSp>
        <p:grpSp>
          <p:nvGrpSpPr>
            <p:cNvPr id="41" name="Group 41"/>
            <p:cNvGrpSpPr/>
            <p:nvPr/>
          </p:nvGrpSpPr>
          <p:grpSpPr>
            <a:xfrm>
              <a:off x="0" y="397409"/>
              <a:ext cx="2958262" cy="2958262"/>
              <a:chOff x="0" y="0"/>
              <a:chExt cx="812800" cy="812800"/>
            </a:xfrm>
          </p:grpSpPr>
          <p:sp>
            <p:nvSpPr>
              <p:cNvPr id="42" name="Freeform 42"/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00" cap="sq">
                <a:solidFill>
                  <a:srgbClr val="ED7D32"/>
                </a:solidFill>
                <a:prstDash val="solid"/>
                <a:miter/>
              </a:ln>
            </p:spPr>
          </p:sp>
          <p:sp>
            <p:nvSpPr>
              <p:cNvPr id="43" name="TextBox 43"/>
              <p:cNvSpPr txBox="1"/>
              <p:nvPr/>
            </p:nvSpPr>
            <p:spPr>
              <a:xfrm>
                <a:off x="76200" y="28575"/>
                <a:ext cx="660400" cy="708025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>
                  <a:lnSpc>
                    <a:spcPts val="1867"/>
                  </a:lnSpc>
                </a:pPr>
                <a:endParaRPr sz="1200"/>
              </a:p>
            </p:txBody>
          </p:sp>
        </p:grpSp>
      </p:grpSp>
      <p:grpSp>
        <p:nvGrpSpPr>
          <p:cNvPr id="44" name="Group 44"/>
          <p:cNvGrpSpPr/>
          <p:nvPr/>
        </p:nvGrpSpPr>
        <p:grpSpPr>
          <a:xfrm rot="8397364">
            <a:off x="9332487" y="4528851"/>
            <a:ext cx="1479131" cy="2057400"/>
            <a:chOff x="0" y="0"/>
            <a:chExt cx="2958262" cy="4114800"/>
          </a:xfrm>
        </p:grpSpPr>
        <p:grpSp>
          <p:nvGrpSpPr>
            <p:cNvPr id="45" name="Group 45"/>
            <p:cNvGrpSpPr/>
            <p:nvPr/>
          </p:nvGrpSpPr>
          <p:grpSpPr>
            <a:xfrm rot="5400000">
              <a:off x="-578269" y="1028700"/>
              <a:ext cx="4114800" cy="2057400"/>
              <a:chOff x="0" y="0"/>
              <a:chExt cx="812800" cy="406400"/>
            </a:xfrm>
          </p:grpSpPr>
          <p:sp>
            <p:nvSpPr>
              <p:cNvPr id="46" name="Freeform 46"/>
              <p:cNvSpPr/>
              <p:nvPr/>
            </p:nvSpPr>
            <p:spPr>
              <a:xfrm>
                <a:off x="0" y="0"/>
                <a:ext cx="812800" cy="4064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406400">
                    <a:moveTo>
                      <a:pt x="609600" y="0"/>
                    </a:moveTo>
                    <a:lnTo>
                      <a:pt x="0" y="0"/>
                    </a:lnTo>
                    <a:lnTo>
                      <a:pt x="0" y="406400"/>
                    </a:lnTo>
                    <a:lnTo>
                      <a:pt x="609600" y="406400"/>
                    </a:lnTo>
                    <a:lnTo>
                      <a:pt x="812800" y="203200"/>
                    </a:lnTo>
                    <a:lnTo>
                      <a:pt x="609600" y="0"/>
                    </a:lnTo>
                    <a:close/>
                  </a:path>
                </a:pathLst>
              </a:custGeom>
              <a:solidFill>
                <a:srgbClr val="737373"/>
              </a:solidFill>
            </p:spPr>
          </p:sp>
          <p:sp>
            <p:nvSpPr>
              <p:cNvPr id="47" name="TextBox 47"/>
              <p:cNvSpPr txBox="1"/>
              <p:nvPr/>
            </p:nvSpPr>
            <p:spPr>
              <a:xfrm>
                <a:off x="0" y="-47625"/>
                <a:ext cx="698500" cy="454025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>
                  <a:lnSpc>
                    <a:spcPts val="1867"/>
                  </a:lnSpc>
                </a:pPr>
                <a:endParaRPr sz="1200"/>
              </a:p>
            </p:txBody>
          </p:sp>
        </p:grpSp>
        <p:grpSp>
          <p:nvGrpSpPr>
            <p:cNvPr id="48" name="Group 48"/>
            <p:cNvGrpSpPr/>
            <p:nvPr/>
          </p:nvGrpSpPr>
          <p:grpSpPr>
            <a:xfrm>
              <a:off x="0" y="397409"/>
              <a:ext cx="2958262" cy="2958262"/>
              <a:chOff x="0" y="0"/>
              <a:chExt cx="812800" cy="812800"/>
            </a:xfrm>
          </p:grpSpPr>
          <p:sp>
            <p:nvSpPr>
              <p:cNvPr id="49" name="Freeform 49"/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00" cap="sq">
                <a:solidFill>
                  <a:srgbClr val="A5A5A5"/>
                </a:solidFill>
                <a:prstDash val="solid"/>
                <a:miter/>
              </a:ln>
            </p:spPr>
          </p:sp>
          <p:sp>
            <p:nvSpPr>
              <p:cNvPr id="50" name="TextBox 50"/>
              <p:cNvSpPr txBox="1"/>
              <p:nvPr/>
            </p:nvSpPr>
            <p:spPr>
              <a:xfrm>
                <a:off x="76200" y="28575"/>
                <a:ext cx="660400" cy="708025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>
                  <a:lnSpc>
                    <a:spcPts val="1867"/>
                  </a:lnSpc>
                </a:pPr>
                <a:endParaRPr sz="1200"/>
              </a:p>
            </p:txBody>
          </p:sp>
        </p:grpSp>
      </p:grpSp>
      <p:sp>
        <p:nvSpPr>
          <p:cNvPr id="51" name="Freeform 51"/>
          <p:cNvSpPr/>
          <p:nvPr/>
        </p:nvSpPr>
        <p:spPr>
          <a:xfrm>
            <a:off x="2405917" y="3832921"/>
            <a:ext cx="2837777" cy="1087649"/>
          </a:xfrm>
          <a:custGeom>
            <a:avLst/>
            <a:gdLst/>
            <a:ahLst/>
            <a:cxnLst/>
            <a:rect l="l" t="t" r="r" b="b"/>
            <a:pathLst>
              <a:path w="4256665" h="1631474">
                <a:moveTo>
                  <a:pt x="0" y="0"/>
                </a:moveTo>
                <a:lnTo>
                  <a:pt x="4256665" y="0"/>
                </a:lnTo>
                <a:lnTo>
                  <a:pt x="4256665" y="1631474"/>
                </a:lnTo>
                <a:lnTo>
                  <a:pt x="0" y="163147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  <p:sp>
        <p:nvSpPr>
          <p:cNvPr id="52" name="TextBox 52"/>
          <p:cNvSpPr txBox="1"/>
          <p:nvPr/>
        </p:nvSpPr>
        <p:spPr>
          <a:xfrm>
            <a:off x="0" y="36281"/>
            <a:ext cx="11910920" cy="7899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173"/>
              </a:lnSpc>
              <a:spcBef>
                <a:spcPct val="0"/>
              </a:spcBef>
            </a:pPr>
            <a:r>
              <a:rPr lang="en-US" sz="2266" b="1" dirty="0" err="1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Анализ</a:t>
            </a:r>
            <a:r>
              <a:rPr lang="en-US" sz="2266" b="1" dirty="0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 </a:t>
            </a:r>
            <a:r>
              <a:rPr lang="en-US" sz="2266" b="1" dirty="0" err="1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практики</a:t>
            </a:r>
            <a:r>
              <a:rPr lang="en-US" sz="2266" b="1" dirty="0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 </a:t>
            </a:r>
            <a:r>
              <a:rPr lang="en-US" sz="2266" b="1" dirty="0" err="1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предоставления</a:t>
            </a:r>
            <a:r>
              <a:rPr lang="en-US" sz="2266" b="1" dirty="0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 </a:t>
            </a:r>
            <a:r>
              <a:rPr lang="en-US" sz="2266" b="1" dirty="0" err="1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социальных</a:t>
            </a:r>
            <a:r>
              <a:rPr lang="en-US" sz="2266" b="1" dirty="0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 </a:t>
            </a:r>
            <a:r>
              <a:rPr lang="en-US" sz="2266" b="1" dirty="0" err="1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гарантий</a:t>
            </a:r>
            <a:endParaRPr lang="en-US" sz="2266" b="1" dirty="0">
              <a:solidFill>
                <a:srgbClr val="2B3C5F"/>
              </a:solidFill>
              <a:latin typeface="Montserrat Bold"/>
              <a:ea typeface="Montserrat Bold"/>
              <a:cs typeface="Montserrat Bold"/>
              <a:sym typeface="Montserrat Bold"/>
            </a:endParaRPr>
          </a:p>
          <a:p>
            <a:pPr algn="ctr">
              <a:lnSpc>
                <a:spcPts val="3173"/>
              </a:lnSpc>
              <a:spcBef>
                <a:spcPct val="0"/>
              </a:spcBef>
            </a:pPr>
            <a:r>
              <a:rPr lang="en-US" sz="2266" b="1" dirty="0" err="1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на</a:t>
            </a:r>
            <a:r>
              <a:rPr lang="en-US" sz="2266" b="1" dirty="0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 </a:t>
            </a:r>
            <a:r>
              <a:rPr lang="en-US" sz="2266" b="1" dirty="0" err="1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предприятиях</a:t>
            </a:r>
            <a:r>
              <a:rPr lang="en-US" sz="2266" b="1" dirty="0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 РК </a:t>
            </a:r>
            <a:r>
              <a:rPr lang="en-US" sz="2266" b="1" dirty="0" err="1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на</a:t>
            </a:r>
            <a:r>
              <a:rPr lang="en-US" sz="2266" b="1" dirty="0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 </a:t>
            </a:r>
            <a:r>
              <a:rPr lang="en-US" sz="2266" b="1" dirty="0" err="1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основе</a:t>
            </a:r>
            <a:r>
              <a:rPr lang="en-US" sz="2266" b="1" dirty="0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 </a:t>
            </a:r>
            <a:r>
              <a:rPr lang="en-US" sz="2266" b="1" dirty="0" err="1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списочного</a:t>
            </a:r>
            <a:r>
              <a:rPr lang="en-US" sz="2266" b="1" dirty="0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 </a:t>
            </a:r>
            <a:r>
              <a:rPr lang="en-US" sz="2266" b="1" dirty="0" err="1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подхода</a:t>
            </a:r>
            <a:r>
              <a:rPr lang="en-US" sz="2266" b="1" dirty="0">
                <a:solidFill>
                  <a:srgbClr val="2B3C5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 </a:t>
            </a:r>
          </a:p>
        </p:txBody>
      </p:sp>
      <p:sp>
        <p:nvSpPr>
          <p:cNvPr id="53" name="TextBox 53"/>
          <p:cNvSpPr txBox="1"/>
          <p:nvPr/>
        </p:nvSpPr>
        <p:spPr>
          <a:xfrm>
            <a:off x="210231" y="5116948"/>
            <a:ext cx="5552460" cy="14127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00"/>
              </a:lnSpc>
              <a:spcBef>
                <a:spcPct val="0"/>
              </a:spcBef>
            </a:pPr>
            <a:r>
              <a:rPr lang="en-US" sz="2000" b="1">
                <a:solidFill>
                  <a:srgbClr val="2B3C5F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Получены данные о гарантиях и льготах от 19 предприятий Республики Казахстан с общей численностью  </a:t>
            </a:r>
            <a:r>
              <a:rPr lang="en-US" sz="2000" b="1">
                <a:solidFill>
                  <a:srgbClr val="047BAD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24 434</a:t>
            </a:r>
            <a:r>
              <a:rPr lang="en-US" sz="2000" b="1">
                <a:solidFill>
                  <a:srgbClr val="2B3C5F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работника </a:t>
            </a:r>
          </a:p>
        </p:txBody>
      </p:sp>
      <p:sp>
        <p:nvSpPr>
          <p:cNvPr id="54" name="TextBox 54"/>
          <p:cNvSpPr txBox="1"/>
          <p:nvPr/>
        </p:nvSpPr>
        <p:spPr>
          <a:xfrm>
            <a:off x="2555774" y="3361260"/>
            <a:ext cx="2605697" cy="49218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34"/>
              </a:lnSpc>
            </a:pPr>
            <a:r>
              <a:rPr lang="en-US" sz="4667">
                <a:solidFill>
                  <a:srgbClr val="047BAD"/>
                </a:solidFill>
                <a:latin typeface="Gladiola"/>
                <a:ea typeface="Gladiola"/>
                <a:cs typeface="Gladiola"/>
                <a:sym typeface="Gladiola"/>
              </a:rPr>
              <a:t>из них:</a:t>
            </a:r>
          </a:p>
        </p:txBody>
      </p:sp>
      <p:sp>
        <p:nvSpPr>
          <p:cNvPr id="55" name="TextBox 55"/>
          <p:cNvSpPr txBox="1"/>
          <p:nvPr/>
        </p:nvSpPr>
        <p:spPr>
          <a:xfrm>
            <a:off x="7886874" y="3612645"/>
            <a:ext cx="1927027" cy="7832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b="1">
                <a:solidFill>
                  <a:srgbClr val="047BAD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18 198 работников (74%)</a:t>
            </a:r>
          </a:p>
          <a:p>
            <a:pPr algn="ctr">
              <a:lnSpc>
                <a:spcPts val="1400"/>
              </a:lnSpc>
            </a:pPr>
            <a:r>
              <a:rPr lang="en-US" sz="100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заняты во вредных и (или) </a:t>
            </a:r>
          </a:p>
          <a:p>
            <a:pPr algn="ctr">
              <a:lnSpc>
                <a:spcPts val="1400"/>
              </a:lnSpc>
              <a:spcBef>
                <a:spcPct val="0"/>
              </a:spcBef>
            </a:pPr>
            <a:r>
              <a:rPr lang="en-US" sz="100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опасных условиях труда </a:t>
            </a:r>
          </a:p>
        </p:txBody>
      </p:sp>
      <p:sp>
        <p:nvSpPr>
          <p:cNvPr id="56" name="TextBox 56"/>
          <p:cNvSpPr txBox="1"/>
          <p:nvPr/>
        </p:nvSpPr>
        <p:spPr>
          <a:xfrm>
            <a:off x="9361612" y="1689540"/>
            <a:ext cx="1273175" cy="67185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1667" b="1">
                <a:solidFill>
                  <a:srgbClr val="047BAD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15 445</a:t>
            </a:r>
          </a:p>
          <a:p>
            <a:pPr algn="ctr">
              <a:lnSpc>
                <a:spcPts val="1027"/>
              </a:lnSpc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работников (85%) </a:t>
            </a:r>
          </a:p>
          <a:p>
            <a:pPr algn="ctr">
              <a:lnSpc>
                <a:spcPts val="1027"/>
              </a:lnSpc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получают дополнительные</a:t>
            </a:r>
          </a:p>
          <a:p>
            <a:pPr algn="ctr">
              <a:lnSpc>
                <a:spcPts val="1027"/>
              </a:lnSpc>
              <a:spcBef>
                <a:spcPct val="0"/>
              </a:spcBef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отпуска</a:t>
            </a:r>
          </a:p>
        </p:txBody>
      </p:sp>
      <p:sp>
        <p:nvSpPr>
          <p:cNvPr id="57" name="TextBox 57"/>
          <p:cNvSpPr txBox="1"/>
          <p:nvPr/>
        </p:nvSpPr>
        <p:spPr>
          <a:xfrm>
            <a:off x="10576378" y="3473511"/>
            <a:ext cx="854273" cy="67185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1667" b="1">
                <a:solidFill>
                  <a:srgbClr val="047BAD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14 043</a:t>
            </a:r>
          </a:p>
          <a:p>
            <a:pPr algn="ctr">
              <a:lnSpc>
                <a:spcPts val="1027"/>
              </a:lnSpc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работника (77%) </a:t>
            </a:r>
          </a:p>
          <a:p>
            <a:pPr algn="ctr">
              <a:lnSpc>
                <a:spcPts val="1027"/>
              </a:lnSpc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получают доплату</a:t>
            </a:r>
          </a:p>
          <a:p>
            <a:pPr algn="ctr">
              <a:lnSpc>
                <a:spcPts val="1027"/>
              </a:lnSpc>
              <a:spcBef>
                <a:spcPct val="0"/>
              </a:spcBef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к зарплате</a:t>
            </a:r>
          </a:p>
        </p:txBody>
      </p:sp>
      <p:sp>
        <p:nvSpPr>
          <p:cNvPr id="58" name="TextBox 58"/>
          <p:cNvSpPr txBox="1"/>
          <p:nvPr/>
        </p:nvSpPr>
        <p:spPr>
          <a:xfrm>
            <a:off x="9652403" y="5236029"/>
            <a:ext cx="993676" cy="8000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1667" b="1">
                <a:solidFill>
                  <a:srgbClr val="047BAD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12 745</a:t>
            </a:r>
          </a:p>
          <a:p>
            <a:pPr algn="ctr">
              <a:lnSpc>
                <a:spcPts val="1027"/>
              </a:lnSpc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работникам (70%) </a:t>
            </a:r>
          </a:p>
          <a:p>
            <a:pPr algn="ctr">
              <a:lnSpc>
                <a:spcPts val="1027"/>
              </a:lnSpc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на ИПС в ЕНПФ</a:t>
            </a:r>
          </a:p>
          <a:p>
            <a:pPr algn="ctr">
              <a:lnSpc>
                <a:spcPts val="1027"/>
              </a:lnSpc>
              <a:spcBef>
                <a:spcPct val="0"/>
              </a:spcBef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перечисляются ОППВ</a:t>
            </a:r>
          </a:p>
        </p:txBody>
      </p:sp>
      <p:sp>
        <p:nvSpPr>
          <p:cNvPr id="59" name="TextBox 59"/>
          <p:cNvSpPr txBox="1"/>
          <p:nvPr/>
        </p:nvSpPr>
        <p:spPr>
          <a:xfrm>
            <a:off x="6921427" y="5236029"/>
            <a:ext cx="1278335" cy="8000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1667" b="1" dirty="0">
                <a:solidFill>
                  <a:srgbClr val="047BAD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11 253</a:t>
            </a:r>
          </a:p>
          <a:p>
            <a:pPr algn="ctr">
              <a:lnSpc>
                <a:spcPts val="1027"/>
              </a:lnSpc>
            </a:pPr>
            <a:r>
              <a:rPr lang="en-US" sz="733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работникам</a:t>
            </a:r>
            <a:r>
              <a:rPr lang="en-US" sz="733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(62%) </a:t>
            </a:r>
          </a:p>
          <a:p>
            <a:pPr algn="ctr">
              <a:lnSpc>
                <a:spcPts val="1027"/>
              </a:lnSpc>
            </a:pPr>
            <a:r>
              <a:rPr lang="en-US" sz="733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733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выдается</a:t>
            </a:r>
            <a:r>
              <a:rPr lang="en-US" sz="733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733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молоко</a:t>
            </a:r>
            <a:endParaRPr lang="en-US" sz="733" dirty="0">
              <a:solidFill>
                <a:srgbClr val="000000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algn="ctr">
              <a:lnSpc>
                <a:spcPts val="1027"/>
              </a:lnSpc>
            </a:pPr>
            <a:r>
              <a:rPr lang="en-US" sz="733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или</a:t>
            </a:r>
            <a:r>
              <a:rPr lang="en-US" sz="733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733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равноценные</a:t>
            </a:r>
            <a:r>
              <a:rPr lang="en-US" sz="733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733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пищевые</a:t>
            </a:r>
            <a:endParaRPr lang="en-US" sz="733" dirty="0">
              <a:solidFill>
                <a:srgbClr val="000000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algn="ctr">
              <a:lnSpc>
                <a:spcPts val="1027"/>
              </a:lnSpc>
              <a:spcBef>
                <a:spcPct val="0"/>
              </a:spcBef>
            </a:pPr>
            <a:r>
              <a:rPr lang="en-US" sz="733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733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продукты</a:t>
            </a:r>
            <a:endParaRPr lang="en-US" sz="733" dirty="0">
              <a:solidFill>
                <a:srgbClr val="00000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TextBox 60"/>
          <p:cNvSpPr txBox="1"/>
          <p:nvPr/>
        </p:nvSpPr>
        <p:spPr>
          <a:xfrm>
            <a:off x="6261100" y="3410011"/>
            <a:ext cx="884635" cy="8000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1667" b="1">
                <a:solidFill>
                  <a:srgbClr val="047BAD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8 463</a:t>
            </a:r>
          </a:p>
          <a:p>
            <a:pPr algn="ctr">
              <a:lnSpc>
                <a:spcPts val="1027"/>
              </a:lnSpc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работникам (47%) </a:t>
            </a:r>
          </a:p>
          <a:p>
            <a:pPr algn="ctr">
              <a:lnSpc>
                <a:spcPts val="1027"/>
              </a:lnSpc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выдается лечебно-</a:t>
            </a:r>
          </a:p>
          <a:p>
            <a:pPr algn="ctr">
              <a:lnSpc>
                <a:spcPts val="1027"/>
              </a:lnSpc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профилактическое</a:t>
            </a:r>
          </a:p>
          <a:p>
            <a:pPr algn="ctr">
              <a:lnSpc>
                <a:spcPts val="1027"/>
              </a:lnSpc>
              <a:spcBef>
                <a:spcPct val="0"/>
              </a:spcBef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питания</a:t>
            </a:r>
          </a:p>
        </p:txBody>
      </p:sp>
      <p:sp>
        <p:nvSpPr>
          <p:cNvPr id="61" name="TextBox 61"/>
          <p:cNvSpPr txBox="1"/>
          <p:nvPr/>
        </p:nvSpPr>
        <p:spPr>
          <a:xfrm>
            <a:off x="7068321" y="1689540"/>
            <a:ext cx="984547" cy="8000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1667" b="1">
                <a:solidFill>
                  <a:srgbClr val="047BAD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3 909</a:t>
            </a:r>
          </a:p>
          <a:p>
            <a:pPr algn="ctr">
              <a:lnSpc>
                <a:spcPts val="1027"/>
              </a:lnSpc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работников (21%) </a:t>
            </a:r>
          </a:p>
          <a:p>
            <a:pPr algn="ctr">
              <a:lnSpc>
                <a:spcPts val="1027"/>
              </a:lnSpc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имеют сокращенную</a:t>
            </a:r>
          </a:p>
          <a:p>
            <a:pPr algn="ctr">
              <a:lnSpc>
                <a:spcPts val="1027"/>
              </a:lnSpc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продолжительность</a:t>
            </a:r>
          </a:p>
          <a:p>
            <a:pPr algn="ctr">
              <a:lnSpc>
                <a:spcPts val="1027"/>
              </a:lnSpc>
              <a:spcBef>
                <a:spcPct val="0"/>
              </a:spcBef>
            </a:pPr>
            <a:r>
              <a:rPr lang="en-US" sz="733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рабочего времени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5220" y="1943675"/>
            <a:ext cx="11672031" cy="4464552"/>
          </a:xfrm>
          <a:custGeom>
            <a:avLst/>
            <a:gdLst/>
            <a:ahLst/>
            <a:cxnLst/>
            <a:rect l="l" t="t" r="r" b="b"/>
            <a:pathLst>
              <a:path w="17508046" h="6696828">
                <a:moveTo>
                  <a:pt x="0" y="0"/>
                </a:moveTo>
                <a:lnTo>
                  <a:pt x="17508047" y="0"/>
                </a:lnTo>
                <a:lnTo>
                  <a:pt x="17508047" y="6696828"/>
                </a:lnTo>
                <a:lnTo>
                  <a:pt x="0" y="6696828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  <p:sp>
        <p:nvSpPr>
          <p:cNvPr id="4" name="TextBox 4"/>
          <p:cNvSpPr txBox="1"/>
          <p:nvPr/>
        </p:nvSpPr>
        <p:spPr>
          <a:xfrm>
            <a:off x="152400" y="387350"/>
            <a:ext cx="11328400" cy="6946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800"/>
              </a:lnSpc>
              <a:spcBef>
                <a:spcPct val="0"/>
              </a:spcBef>
            </a:pPr>
            <a:r>
              <a:rPr lang="ru-RU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Алгоритм новой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модели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предоставления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гарантий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при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работе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во</a:t>
            </a:r>
            <a:endParaRPr lang="en-US" sz="2000" b="1" dirty="0">
              <a:solidFill>
                <a:srgbClr val="273357"/>
              </a:solidFill>
              <a:latin typeface="Open Sans Bold"/>
              <a:ea typeface="Open Sans Bold"/>
              <a:cs typeface="Open Sans Bold"/>
              <a:sym typeface="Open Sans Bold"/>
            </a:endParaRPr>
          </a:p>
          <a:p>
            <a:pPr algn="ctr">
              <a:lnSpc>
                <a:spcPts val="28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вредных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и (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или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)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опасных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условиях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труда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в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Республике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Казахстан</a:t>
            </a:r>
            <a:endParaRPr lang="en-US" sz="2000" b="1" dirty="0">
              <a:solidFill>
                <a:srgbClr val="273357"/>
              </a:solidFill>
              <a:latin typeface="Open Sans Bold"/>
              <a:ea typeface="Open Sans Bold"/>
              <a:cs typeface="Open Sans Bold"/>
              <a:sym typeface="Open Sans Bold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36347" y="952736"/>
            <a:ext cx="11607399" cy="5905264"/>
          </a:xfrm>
          <a:custGeom>
            <a:avLst/>
            <a:gdLst/>
            <a:ahLst/>
            <a:cxnLst/>
            <a:rect l="l" t="t" r="r" b="b"/>
            <a:pathLst>
              <a:path w="17411098" h="8857896">
                <a:moveTo>
                  <a:pt x="0" y="0"/>
                </a:moveTo>
                <a:lnTo>
                  <a:pt x="17411098" y="0"/>
                </a:lnTo>
                <a:lnTo>
                  <a:pt x="17411098" y="8857896"/>
                </a:lnTo>
                <a:lnTo>
                  <a:pt x="0" y="8857896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ru-KZ" dirty="0"/>
          </a:p>
        </p:txBody>
      </p:sp>
      <p:sp>
        <p:nvSpPr>
          <p:cNvPr id="4" name="TextBox 4"/>
          <p:cNvSpPr txBox="1"/>
          <p:nvPr/>
        </p:nvSpPr>
        <p:spPr>
          <a:xfrm>
            <a:off x="1676401" y="42631"/>
            <a:ext cx="9279499" cy="6946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800"/>
              </a:lnSpc>
              <a:spcBef>
                <a:spcPct val="0"/>
              </a:spcBef>
            </a:pPr>
            <a:r>
              <a:rPr lang="ru-RU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Н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ов</a:t>
            </a:r>
            <a:r>
              <a:rPr lang="ru-RU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ая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модел</a:t>
            </a:r>
            <a:r>
              <a:rPr lang="ru-RU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ь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предоставления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гарантий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при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работе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во</a:t>
            </a:r>
            <a:endParaRPr lang="en-US" sz="2000" b="1" dirty="0">
              <a:solidFill>
                <a:srgbClr val="273357"/>
              </a:solidFill>
              <a:latin typeface="Open Sans Bold"/>
              <a:ea typeface="Open Sans Bold"/>
              <a:cs typeface="Open Sans Bold"/>
              <a:sym typeface="Open Sans Bold"/>
            </a:endParaRPr>
          </a:p>
          <a:p>
            <a:pPr algn="ctr">
              <a:lnSpc>
                <a:spcPts val="28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вредных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и (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или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)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опасных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условиях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труда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в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Республике</a:t>
            </a:r>
            <a:r>
              <a:rPr lang="en-US" sz="2000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r>
              <a:rPr lang="en-US" sz="2000" b="1" dirty="0" err="1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Казахстан</a:t>
            </a:r>
            <a:endParaRPr lang="en-US" sz="2000" b="1" dirty="0">
              <a:solidFill>
                <a:srgbClr val="273357"/>
              </a:solidFill>
              <a:latin typeface="Open Sans Bold"/>
              <a:ea typeface="Open Sans Bold"/>
              <a:cs typeface="Open Sans Bold"/>
              <a:sym typeface="Open Sans Bold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402850" y="685800"/>
            <a:ext cx="11236701" cy="6124002"/>
          </a:xfrm>
          <a:custGeom>
            <a:avLst/>
            <a:gdLst/>
            <a:ahLst/>
            <a:cxnLst/>
            <a:rect l="l" t="t" r="r" b="b"/>
            <a:pathLst>
              <a:path w="16855051" h="9186003">
                <a:moveTo>
                  <a:pt x="0" y="0"/>
                </a:moveTo>
                <a:lnTo>
                  <a:pt x="16855051" y="0"/>
                </a:lnTo>
                <a:lnTo>
                  <a:pt x="16855051" y="9186003"/>
                </a:lnTo>
                <a:lnTo>
                  <a:pt x="0" y="9186003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  <p:sp>
        <p:nvSpPr>
          <p:cNvPr id="4" name="TextBox 4"/>
          <p:cNvSpPr txBox="1"/>
          <p:nvPr/>
        </p:nvSpPr>
        <p:spPr>
          <a:xfrm>
            <a:off x="152400" y="95662"/>
            <a:ext cx="11810999" cy="5220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147"/>
              </a:lnSpc>
              <a:spcBef>
                <a:spcPct val="0"/>
              </a:spcBef>
            </a:pPr>
            <a:r>
              <a:rPr lang="en-US" sz="1533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МАТРИЦА МЕТОДИКИ РАСПРЕДЕЛЕНИЯ ВИДОВ И ОБЪЕМОВ СОЦИАЛЬНЫХ ГАРАНТИЙ</a:t>
            </a:r>
          </a:p>
          <a:p>
            <a:pPr algn="ctr">
              <a:lnSpc>
                <a:spcPts val="2147"/>
              </a:lnSpc>
              <a:spcBef>
                <a:spcPct val="0"/>
              </a:spcBef>
            </a:pPr>
            <a:r>
              <a:rPr lang="en-US" sz="1533" b="1" dirty="0">
                <a:solidFill>
                  <a:srgbClr val="273357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В ЗАВИСИМОСТИ ОТ ВОПФ и СТЕПЕНИ ПРОФРИСКА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74476" y="80731"/>
            <a:ext cx="1222649" cy="264697"/>
          </a:xfrm>
          <a:custGeom>
            <a:avLst/>
            <a:gdLst/>
            <a:ahLst/>
            <a:cxnLst/>
            <a:rect l="l" t="t" r="r" b="b"/>
            <a:pathLst>
              <a:path w="1833974" h="397046">
                <a:moveTo>
                  <a:pt x="0" y="0"/>
                </a:moveTo>
                <a:lnTo>
                  <a:pt x="1833974" y="0"/>
                </a:lnTo>
                <a:lnTo>
                  <a:pt x="1833974" y="397046"/>
                </a:lnTo>
                <a:lnTo>
                  <a:pt x="0" y="397046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19999"/>
            </a:blip>
            <a:stretch>
              <a:fillRect/>
            </a:stretch>
          </a:blipFill>
        </p:spPr>
      </p:sp>
      <p:sp>
        <p:nvSpPr>
          <p:cNvPr id="3" name="Freeform 3"/>
          <p:cNvSpPr/>
          <p:nvPr/>
        </p:nvSpPr>
        <p:spPr>
          <a:xfrm>
            <a:off x="760936" y="480797"/>
            <a:ext cx="4339955" cy="6199936"/>
          </a:xfrm>
          <a:custGeom>
            <a:avLst/>
            <a:gdLst/>
            <a:ahLst/>
            <a:cxnLst/>
            <a:rect l="l" t="t" r="r" b="b"/>
            <a:pathLst>
              <a:path w="6509933" h="9299904">
                <a:moveTo>
                  <a:pt x="0" y="0"/>
                </a:moveTo>
                <a:lnTo>
                  <a:pt x="6509933" y="0"/>
                </a:lnTo>
                <a:lnTo>
                  <a:pt x="6509933" y="9299904"/>
                </a:lnTo>
                <a:lnTo>
                  <a:pt x="0" y="929990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</p:sp>
      <p:graphicFrame>
        <p:nvGraphicFramePr>
          <p:cNvPr id="4" name="Table 4"/>
          <p:cNvGraphicFramePr>
            <a:graphicFrameLocks noGrp="1"/>
          </p:cNvGraphicFramePr>
          <p:nvPr/>
        </p:nvGraphicFramePr>
        <p:xfrm>
          <a:off x="5517944" y="530022"/>
          <a:ext cx="5988256" cy="6941011"/>
        </p:xfrm>
        <a:graphic>
          <a:graphicData uri="http://schemas.openxmlformats.org/drawingml/2006/table">
            <a:tbl>
              <a:tblPr/>
              <a:tblGrid>
                <a:gridCol w="7445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436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5416">
                <a:tc>
                  <a:txBody>
                    <a:bodyPr/>
                    <a:lstStyle/>
                    <a:p>
                      <a:pPr algn="ctr">
                        <a:lnSpc>
                          <a:spcPts val="1679"/>
                        </a:lnSpc>
                        <a:defRPr/>
                      </a:pPr>
                      <a:r>
                        <a:rPr lang="en-US" sz="800" b="1">
                          <a:solidFill>
                            <a:srgbClr val="000000"/>
                          </a:solidFill>
                          <a:latin typeface="Montserrat Bold"/>
                          <a:ea typeface="Montserrat Bold"/>
                          <a:cs typeface="Montserrat Bold"/>
                          <a:sym typeface="Montserrat Bold"/>
                        </a:rPr>
                        <a:t>Глава I.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679"/>
                        </a:lnSpc>
                        <a:defRPr/>
                      </a:pPr>
                      <a:r>
                        <a:rPr lang="en-US" sz="800" b="1">
                          <a:solidFill>
                            <a:srgbClr val="000000"/>
                          </a:solidFill>
                          <a:latin typeface="Montserrat Bold"/>
                          <a:ea typeface="Montserrat Bold"/>
                          <a:cs typeface="Montserrat Bold"/>
                          <a:sym typeface="Montserrat Bold"/>
                        </a:rPr>
                        <a:t>ДЕЙСТВУЮЩАЯ НАЦИОНАЛЬНАЯ МОДЕЛЬ НАЗНАЧЕНИЯ И ПРЕДОСТАВЛЕНИЯ СОЦИАЛЬНЫХ ГАРАНТИЙ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416">
                <a:tc>
                  <a:txBody>
                    <a:bodyPr/>
                    <a:lstStyle/>
                    <a:p>
                      <a:pPr algn="ctr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1.1.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Социальные гарантии в системе минимальных социальных стандартов Республики Казахстан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416">
                <a:tc>
                  <a:txBody>
                    <a:bodyPr/>
                    <a:lstStyle/>
                    <a:p>
                      <a:pPr algn="ctr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1.2.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Понятие, виды социальных гарантий, основания их предоставления по трудовому законодательству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4551">
                <a:tc>
                  <a:txBody>
                    <a:bodyPr/>
                    <a:lstStyle/>
                    <a:p>
                      <a:pPr algn="ctr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1.3.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Социальные гарантии работникам: международные трудовые стандарты и зарубежный опыт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416">
                <a:tc>
                  <a:txBody>
                    <a:bodyPr/>
                    <a:lstStyle/>
                    <a:p>
                      <a:pPr algn="ctr">
                        <a:lnSpc>
                          <a:spcPts val="1679"/>
                        </a:lnSpc>
                        <a:defRPr/>
                      </a:pPr>
                      <a:r>
                        <a:rPr lang="en-US" sz="800" b="1">
                          <a:solidFill>
                            <a:srgbClr val="000000"/>
                          </a:solidFill>
                          <a:latin typeface="Montserrat Bold"/>
                          <a:ea typeface="Montserrat Bold"/>
                          <a:cs typeface="Montserrat Bold"/>
                          <a:sym typeface="Montserrat Bold"/>
                        </a:rPr>
                        <a:t>Глава II.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679"/>
                        </a:lnSpc>
                        <a:defRPr/>
                      </a:pPr>
                      <a:r>
                        <a:rPr lang="en-US" sz="800" b="1">
                          <a:solidFill>
                            <a:srgbClr val="000000"/>
                          </a:solidFill>
                          <a:latin typeface="Montserrat Bold"/>
                          <a:ea typeface="Montserrat Bold"/>
                          <a:cs typeface="Montserrat Bold"/>
                          <a:sym typeface="Montserrat Bold"/>
                        </a:rPr>
                        <a:t>СОЦИАЛЬНЫЕ ГАРАНТИИ В КОНТЕКСТЕ ЭКОНОМИЧЕСКОГО СТИМУЛИРОВАНИЯ РАБОТОДАТЕЛЕЙ К УЛУЧШЕНИЮ УСЛОВИЙ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16">
                <a:tc>
                  <a:txBody>
                    <a:bodyPr/>
                    <a:lstStyle/>
                    <a:p>
                      <a:pPr algn="ctr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2.1.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Корреляция оценки условий труда и предоставления компенсаций в рамках действующего регуляторного механизма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5427">
                <a:tc>
                  <a:txBody>
                    <a:bodyPr/>
                    <a:lstStyle/>
                    <a:p>
                      <a:pPr algn="ctr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2.2.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Анализ экономической эффективности предоставления социальных льгот и гарантий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5427">
                <a:tc>
                  <a:txBody>
                    <a:bodyPr/>
                    <a:lstStyle/>
                    <a:p>
                      <a:pPr algn="ctr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2.3.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Обзор лучших корпоративных политик и практик по социальной защите работников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5427">
                <a:tc>
                  <a:txBody>
                    <a:bodyPr/>
                    <a:lstStyle/>
                    <a:p>
                      <a:pPr algn="ctr">
                        <a:lnSpc>
                          <a:spcPts val="1679"/>
                        </a:lnSpc>
                        <a:defRPr/>
                      </a:pPr>
                      <a:r>
                        <a:rPr lang="en-US" sz="800" b="1">
                          <a:solidFill>
                            <a:srgbClr val="000000"/>
                          </a:solidFill>
                          <a:latin typeface="Montserrat Bold"/>
                          <a:ea typeface="Montserrat Bold"/>
                          <a:cs typeface="Montserrat Bold"/>
                          <a:sym typeface="Montserrat Bold"/>
                        </a:rPr>
                        <a:t>Глава III.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679"/>
                        </a:lnSpc>
                        <a:defRPr/>
                      </a:pPr>
                      <a:r>
                        <a:rPr lang="en-US" sz="800" b="1">
                          <a:solidFill>
                            <a:srgbClr val="000000"/>
                          </a:solidFill>
                          <a:latin typeface="Montserrat Bold"/>
                          <a:ea typeface="Montserrat Bold"/>
                          <a:cs typeface="Montserrat Bold"/>
                          <a:sym typeface="Montserrat Bold"/>
                        </a:rPr>
                        <a:t>ПОДХОДЫ НАЦИОНАЛЬНОЙ ПОЛИТИКИ В ОБЛАСТИ СОЦИАЛЬНЫХ ГАРАНТИЙ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15416">
                <a:tc>
                  <a:txBody>
                    <a:bodyPr/>
                    <a:lstStyle/>
                    <a:p>
                      <a:pPr algn="ctr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3.1.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Обзорная характеристика риск-ориентированной методики назначения и предоставления социальных гарантий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15416">
                <a:tc>
                  <a:txBody>
                    <a:bodyPr/>
                    <a:lstStyle/>
                    <a:p>
                      <a:pPr algn="ctr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3.2.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Особенности человекоцентричного проактивного механизма назначения и предоставления социальных гарантий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515416">
                <a:tc>
                  <a:txBody>
                    <a:bodyPr/>
                    <a:lstStyle/>
                    <a:p>
                      <a:pPr algn="ctr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3.3.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Перспективы совершенствования национального законодательства в области социальных гарантий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5427">
                <a:tc>
                  <a:txBody>
                    <a:bodyPr/>
                    <a:lstStyle/>
                    <a:p>
                      <a:pPr algn="l">
                        <a:lnSpc>
                          <a:spcPts val="1679"/>
                        </a:lnSpc>
                        <a:defRPr/>
                      </a:pP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679"/>
                        </a:lnSpc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Список использованных источников  </a:t>
                      </a:r>
                      <a:endParaRPr lang="en-US" sz="700"/>
                    </a:p>
                  </a:txBody>
                  <a:tcPr marL="101600" marR="101600" marT="101600" marB="10160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5" name="TextBox 5"/>
          <p:cNvSpPr txBox="1"/>
          <p:nvPr/>
        </p:nvSpPr>
        <p:spPr>
          <a:xfrm>
            <a:off x="7971876" y="267014"/>
            <a:ext cx="1324525" cy="2249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867"/>
              </a:lnSpc>
              <a:spcBef>
                <a:spcPct val="0"/>
              </a:spcBef>
            </a:pPr>
            <a:r>
              <a:rPr lang="en-US" sz="1333" b="1" dirty="0" err="1">
                <a:solidFill>
                  <a:srgbClr val="273357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Содержание</a:t>
            </a:r>
            <a:endParaRPr lang="en-US" sz="1333" b="1" dirty="0">
              <a:solidFill>
                <a:srgbClr val="273357"/>
              </a:solidFill>
              <a:latin typeface="Montserrat Bold"/>
              <a:ea typeface="Montserrat Bold"/>
              <a:cs typeface="Montserrat Bold"/>
              <a:sym typeface="Montserrat Bold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DDC3789-EC7B-9AF2-3384-3E9D00310D89}"/>
              </a:ext>
            </a:extLst>
          </p:cNvPr>
          <p:cNvSpPr txBox="1"/>
          <p:nvPr/>
        </p:nvSpPr>
        <p:spPr>
          <a:xfrm>
            <a:off x="2971800" y="1674252"/>
            <a:ext cx="89154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работка </a:t>
            </a:r>
            <a:r>
              <a:rPr lang="ru-RU" alt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тодики оценки </a:t>
            </a:r>
            <a:r>
              <a:rPr lang="ru-RU" altLang="ru-RU" sz="12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фриска</a:t>
            </a:r>
            <a:r>
              <a:rPr lang="ru-RU" alt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в особых условиях</a:t>
            </a: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руда (подземные работы, на открытом воздухе, работы на высоте)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пробация</a:t>
            </a:r>
            <a:r>
              <a:rPr lang="ru-RU" altLang="ru-RU" sz="1200" b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</a:t>
            </a:r>
            <a:r>
              <a:rPr kumimoji="0" lang="ru-RU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тодики</a:t>
            </a:r>
            <a:r>
              <a:rPr kumimoji="0" lang="ru-RU" altLang="ru-RU" sz="1200" b="1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интегральной оценки 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фессионального риска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пробация </a:t>
            </a:r>
            <a:r>
              <a:rPr lang="ru-RU" alt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бильного приложения 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нтегральной оценки профессиональных рисков (автоматизация процедуры оценки условий труда);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робация </a:t>
            </a:r>
            <a:r>
              <a:rPr lang="ru-RU" alt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ики выбора СИЗ</a:t>
            </a: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                           </a:t>
            </a:r>
            <a:endParaRPr kumimoji="0" lang="ru-RU" altLang="ru-RU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bject 10"/>
          <p:cNvSpPr txBox="1"/>
          <p:nvPr/>
        </p:nvSpPr>
        <p:spPr>
          <a:xfrm>
            <a:off x="181385" y="170517"/>
            <a:ext cx="11858215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2400" spc="-90" dirty="0">
                <a:solidFill>
                  <a:srgbClr val="B8530F"/>
                </a:solidFill>
                <a:latin typeface="Segoe UI Semibold"/>
                <a:cs typeface="Segoe UI Semibold"/>
              </a:rPr>
              <a:t>Мероприятия по пилотной апробации научно-обоснованных механизмов Концепции </a:t>
            </a:r>
          </a:p>
        </p:txBody>
      </p:sp>
      <p:sp>
        <p:nvSpPr>
          <p:cNvPr id="8" name="object 70"/>
          <p:cNvSpPr/>
          <p:nvPr/>
        </p:nvSpPr>
        <p:spPr>
          <a:xfrm>
            <a:off x="-12107" y="177331"/>
            <a:ext cx="58355" cy="511908"/>
          </a:xfrm>
          <a:custGeom>
            <a:avLst/>
            <a:gdLst/>
            <a:ahLst/>
            <a:cxnLst/>
            <a:rect l="l" t="t" r="r" b="b"/>
            <a:pathLst>
              <a:path w="71755" h="788035">
                <a:moveTo>
                  <a:pt x="71628" y="0"/>
                </a:moveTo>
                <a:lnTo>
                  <a:pt x="0" y="0"/>
                </a:lnTo>
                <a:lnTo>
                  <a:pt x="0" y="787908"/>
                </a:lnTo>
                <a:lnTo>
                  <a:pt x="71628" y="787908"/>
                </a:lnTo>
                <a:lnTo>
                  <a:pt x="71628" y="0"/>
                </a:lnTo>
                <a:close/>
              </a:path>
            </a:pathLst>
          </a:custGeom>
          <a:solidFill>
            <a:srgbClr val="B8530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9" name="Группа 8"/>
          <p:cNvGrpSpPr/>
          <p:nvPr/>
        </p:nvGrpSpPr>
        <p:grpSpPr>
          <a:xfrm>
            <a:off x="210532" y="6565712"/>
            <a:ext cx="2977262" cy="178306"/>
            <a:chOff x="231647" y="6620254"/>
            <a:chExt cx="2977262" cy="178306"/>
          </a:xfrm>
        </p:grpSpPr>
        <p:sp>
          <p:nvSpPr>
            <p:cNvPr id="10" name="object 48"/>
            <p:cNvSpPr txBox="1"/>
            <p:nvPr/>
          </p:nvSpPr>
          <p:spPr>
            <a:xfrm>
              <a:off x="415544" y="6648094"/>
              <a:ext cx="2793365" cy="132080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95"/>
                </a:spcBef>
              </a:pPr>
              <a:r>
                <a:rPr sz="700" spc="-10" dirty="0">
                  <a:solidFill>
                    <a:srgbClr val="7E7E7E"/>
                  </a:solidFill>
                  <a:latin typeface="Segoe UI"/>
                  <a:cs typeface="Segoe UI"/>
                </a:rPr>
                <a:t>МИНИСТЕРСТВО</a:t>
              </a:r>
              <a:r>
                <a:rPr sz="700" spc="50" dirty="0">
                  <a:solidFill>
                    <a:srgbClr val="7E7E7E"/>
                  </a:solidFill>
                  <a:latin typeface="Segoe UI"/>
                  <a:cs typeface="Segoe UI"/>
                </a:rPr>
                <a:t> </a:t>
              </a:r>
              <a:r>
                <a:rPr sz="700" spc="-10" dirty="0">
                  <a:solidFill>
                    <a:srgbClr val="7E7E7E"/>
                  </a:solidFill>
                  <a:latin typeface="Segoe UI"/>
                  <a:cs typeface="Segoe UI"/>
                </a:rPr>
                <a:t>ТРУДА</a:t>
              </a:r>
              <a:r>
                <a:rPr sz="700" spc="10" dirty="0">
                  <a:solidFill>
                    <a:srgbClr val="7E7E7E"/>
                  </a:solidFill>
                  <a:latin typeface="Segoe UI"/>
                  <a:cs typeface="Segoe UI"/>
                </a:rPr>
                <a:t> </a:t>
              </a:r>
              <a:r>
                <a:rPr sz="700" spc="-5" dirty="0">
                  <a:solidFill>
                    <a:srgbClr val="7E7E7E"/>
                  </a:solidFill>
                  <a:latin typeface="Segoe UI"/>
                  <a:cs typeface="Segoe UI"/>
                </a:rPr>
                <a:t>И</a:t>
              </a:r>
              <a:r>
                <a:rPr sz="700" spc="10" dirty="0">
                  <a:solidFill>
                    <a:srgbClr val="7E7E7E"/>
                  </a:solidFill>
                  <a:latin typeface="Segoe UI"/>
                  <a:cs typeface="Segoe UI"/>
                </a:rPr>
                <a:t> </a:t>
              </a:r>
              <a:r>
                <a:rPr sz="700" spc="-10" dirty="0">
                  <a:solidFill>
                    <a:srgbClr val="7E7E7E"/>
                  </a:solidFill>
                  <a:latin typeface="Segoe UI"/>
                  <a:cs typeface="Segoe UI"/>
                </a:rPr>
                <a:t>СОЦИАЛЬНОЙ</a:t>
              </a:r>
              <a:r>
                <a:rPr sz="700" spc="45" dirty="0">
                  <a:solidFill>
                    <a:srgbClr val="7E7E7E"/>
                  </a:solidFill>
                  <a:latin typeface="Segoe UI"/>
                  <a:cs typeface="Segoe UI"/>
                </a:rPr>
                <a:t> </a:t>
              </a:r>
              <a:r>
                <a:rPr sz="700" spc="-10" dirty="0">
                  <a:solidFill>
                    <a:srgbClr val="7E7E7E"/>
                  </a:solidFill>
                  <a:latin typeface="Segoe UI"/>
                  <a:cs typeface="Segoe UI"/>
                </a:rPr>
                <a:t>ЗАЩИТЫ</a:t>
              </a:r>
              <a:r>
                <a:rPr sz="700" spc="15" dirty="0">
                  <a:solidFill>
                    <a:srgbClr val="7E7E7E"/>
                  </a:solidFill>
                  <a:latin typeface="Segoe UI"/>
                  <a:cs typeface="Segoe UI"/>
                </a:rPr>
                <a:t> </a:t>
              </a:r>
              <a:r>
                <a:rPr sz="700" spc="-10" dirty="0">
                  <a:solidFill>
                    <a:srgbClr val="7E7E7E"/>
                  </a:solidFill>
                  <a:latin typeface="Segoe UI"/>
                  <a:cs typeface="Segoe UI"/>
                </a:rPr>
                <a:t>НАСЕЛЕНИЯ</a:t>
              </a:r>
              <a:r>
                <a:rPr sz="700" spc="45" dirty="0">
                  <a:solidFill>
                    <a:srgbClr val="7E7E7E"/>
                  </a:solidFill>
                  <a:latin typeface="Segoe UI"/>
                  <a:cs typeface="Segoe UI"/>
                </a:rPr>
                <a:t> </a:t>
              </a:r>
              <a:r>
                <a:rPr sz="700" spc="-10" dirty="0">
                  <a:solidFill>
                    <a:srgbClr val="7E7E7E"/>
                  </a:solidFill>
                  <a:latin typeface="Segoe UI"/>
                  <a:cs typeface="Segoe UI"/>
                </a:rPr>
                <a:t>РК</a:t>
              </a:r>
              <a:endParaRPr sz="700" dirty="0">
                <a:latin typeface="Segoe UI"/>
                <a:cs typeface="Segoe UI"/>
              </a:endParaRPr>
            </a:p>
          </p:txBody>
        </p:sp>
        <p:pic>
          <p:nvPicPr>
            <p:cNvPr id="11" name="object 4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31647" y="6620254"/>
              <a:ext cx="173736" cy="178306"/>
            </a:xfrm>
            <a:prstGeom prst="rect">
              <a:avLst/>
            </a:prstGeom>
          </p:spPr>
        </p:pic>
      </p:grpSp>
      <p:graphicFrame>
        <p:nvGraphicFramePr>
          <p:cNvPr id="12" name="Схема 11"/>
          <p:cNvGraphicFramePr/>
          <p:nvPr/>
        </p:nvGraphicFramePr>
        <p:xfrm>
          <a:off x="210532" y="719667"/>
          <a:ext cx="11524268" cy="6519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210532" y="1674252"/>
            <a:ext cx="27328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b="1" u="sng" spc="-35" dirty="0">
                <a:solidFill>
                  <a:srgbClr val="002060"/>
                </a:solidFill>
                <a:latin typeface="Arial"/>
                <a:cs typeface="Arial"/>
              </a:rPr>
              <a:t>По направлению 1 КБТ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989386" y="3080238"/>
            <a:ext cx="89153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пробация </a:t>
            </a:r>
            <a:r>
              <a:rPr lang="ru-RU" alt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дели двухкомпонентного страхового тарифа 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СНС и методики определения поправочного коэффициента к страховому тарифу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пробация методики определения </a:t>
            </a:r>
            <a:r>
              <a:rPr lang="ru-RU" alt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идов и объемов гарантий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занятым во вредных условиях труда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210532" y="3114746"/>
            <a:ext cx="27328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b="1" u="sng" spc="-35" dirty="0">
                <a:solidFill>
                  <a:srgbClr val="002060"/>
                </a:solidFill>
                <a:latin typeface="Arial"/>
                <a:cs typeface="Arial"/>
              </a:rPr>
              <a:t>По направлению 2 КБТ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971800" y="3971586"/>
            <a:ext cx="918225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пробация механизмов разграничения процедуры </a:t>
            </a:r>
            <a:r>
              <a:rPr lang="ru-RU" alt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учения и проверки знаний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онлайн-регистрации организаций обучения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пробация </a:t>
            </a:r>
            <a:r>
              <a:rPr lang="ru-RU" alt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иповых учебных программ </a:t>
            </a:r>
            <a:r>
              <a:rPr lang="ru-RU" altLang="ru-RU" sz="1000" i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для первых руководителей и уполномоченных лиц, руководителей и специалистов службы ОТ, председателей производственных советов и руководителей рабочих групп по направлениям ОТ, руководителей и специалистов, специализированных аттестующих организаций, повышения квалификации ГИТ, лекторов по ОТ организаций обучения и корпоративных учебных центров )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кспертное участие в </a:t>
            </a:r>
            <a:r>
              <a:rPr lang="ru-RU" alt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ктуализации профессионального стандарта «Безопасность и охрана труда»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34745" y="3993695"/>
            <a:ext cx="27328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b="1" u="sng" spc="-35" dirty="0">
                <a:solidFill>
                  <a:srgbClr val="002060"/>
                </a:solidFill>
                <a:latin typeface="Arial"/>
                <a:cs typeface="Arial"/>
              </a:rPr>
              <a:t>По направлению 3 КБТ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10532" y="5285565"/>
            <a:ext cx="27328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b="1" u="sng" spc="-35" dirty="0">
                <a:solidFill>
                  <a:srgbClr val="002060"/>
                </a:solidFill>
                <a:latin typeface="Arial"/>
                <a:cs typeface="Arial"/>
              </a:rPr>
              <a:t>По направлению 4 КБТ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971800" y="5310414"/>
            <a:ext cx="92964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пробация алгоритма выбора предприятий для проверки в рамках госконтроля на основе данных </a:t>
            </a:r>
            <a:r>
              <a:rPr lang="ru-RU" alt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Цифровой карты предприятий </a:t>
            </a:r>
            <a:r>
              <a:rPr lang="ru-RU" altLang="ru-RU" sz="1000" i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механизм </a:t>
            </a:r>
            <a:r>
              <a:rPr lang="ru-RU" altLang="ru-RU" sz="1000" i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осмониторинга</a:t>
            </a:r>
            <a:r>
              <a:rPr lang="ru-RU" altLang="ru-RU" sz="1000" i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условий труда)</a:t>
            </a:r>
          </a:p>
        </p:txBody>
      </p:sp>
    </p:spTree>
    <p:extLst>
      <p:ext uri="{BB962C8B-B14F-4D97-AF65-F5344CB8AC3E}">
        <p14:creationId xmlns:p14="http://schemas.microsoft.com/office/powerpoint/2010/main" val="1882324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F493B474-8061-47C5-BFFE-A699985D8D8F}"/>
              </a:ext>
            </a:extLst>
          </p:cNvPr>
          <p:cNvSpPr txBox="1">
            <a:spLocks/>
          </p:cNvSpPr>
          <p:nvPr/>
        </p:nvSpPr>
        <p:spPr bwMode="auto">
          <a:xfrm>
            <a:off x="554615" y="-16136"/>
            <a:ext cx="1128077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88"/>
              </a:spcBef>
              <a:buNone/>
            </a:pP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ОРГАНИЗАЦИЯ ПИЛОТНОЙ АПРОБАЦИИ МЕРОПРИЯТИЙ, НАПРАВЛЕННЫХ НА СОВЕРШЕНСТВОВАНИЕ ПОДХОДОВ К ОРГАНИЗАЦИИ БЕЗОПАСНОГО ТРУДА</a:t>
            </a:r>
            <a:endParaRPr lang="ru-RU" altLang="en-US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04804C92-8634-422F-8331-FEA8F172C7E2}"/>
              </a:ext>
            </a:extLst>
          </p:cNvPr>
          <p:cNvCxnSpPr>
            <a:cxnSpLocks/>
          </p:cNvCxnSpPr>
          <p:nvPr/>
        </p:nvCxnSpPr>
        <p:spPr>
          <a:xfrm>
            <a:off x="569088" y="704620"/>
            <a:ext cx="113950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113778" y="776973"/>
          <a:ext cx="11962109" cy="5736155"/>
        </p:xfrm>
        <a:graphic>
          <a:graphicData uri="http://schemas.openxmlformats.org/drawingml/2006/table">
            <a:tbl>
              <a:tblPr firstRow="1" firstCol="1" bandRow="1"/>
              <a:tblGrid>
                <a:gridCol w="3616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7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96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67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21843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№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Организация 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Регион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Мероприятия, направленные 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на совершенствование подходов к организации безопасного труда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49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О «</a:t>
                      </a:r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Экотон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» - Астана 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ктюбинская область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пробация механизма расчета интегральной оценки профессионального риска</a:t>
                      </a:r>
                    </a:p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пробация модели двухкомпонентного страхового тарифа ОСНС и методики определения поправочного коэффициента к страховому тарифу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66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ТОО «</a:t>
                      </a:r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Экотон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- </a:t>
                      </a:r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Батыс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» 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ктюбинская область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пробация методики выбора СИЗ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66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О «</a:t>
                      </a:r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Экотон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»-Алга 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ктюбинская область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пробация методики определения видов и объемов гарантий, занятым во вредных условиях труда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66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О «</a:t>
                      </a:r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Экотон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» – </a:t>
                      </a:r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Кандыагаш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ктюбинская область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пробация методики выбора СИЗ</a:t>
                      </a:r>
                    </a:p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пробация типовых учебных программ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66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О «</a:t>
                      </a:r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Каражанбасмунай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» 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Мангыстауская область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пробация методики интегральной оценки профессионального риска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66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ТОО «</a:t>
                      </a:r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тырауский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 нефтеперерабатывающий завод» 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тырауская область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пробация модели двухкомпонентного страхового тарифа ОСНС и методики определения поправочного коэффициента к страховому тарифу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9932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ТОО «</a:t>
                      </a:r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Бакырчикское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 горнодобывающее предприятие» 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Область Абай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пробация механизма расчета интегральной оценки профессионального риска</a:t>
                      </a:r>
                    </a:p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пробация модели двухкомпонентного страхового тарифа ОСНС и методики определения поправочного коэффициента к страховому тарифу</a:t>
                      </a:r>
                    </a:p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пробация методики выбора СИЗ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66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О «</a:t>
                      </a:r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Эмбамунайгаз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» 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тырауская область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пробация механизма расчета интегральной оценки профессионального риска</a:t>
                      </a:r>
                    </a:p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пробация методики выбора СИЗ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966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О «Стекольная Компания «</a:t>
                      </a:r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Саф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» 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лматинская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 область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пробация механизма расчета интегральной оценки профессионального риска</a:t>
                      </a:r>
                    </a:p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Апробация методики выбора СИЗ</a:t>
                      </a:r>
                    </a:p>
                  </a:txBody>
                  <a:tcPr marL="27725" marR="277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91786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22">
            <a:extLst>
              <a:ext uri="{FF2B5EF4-FFF2-40B4-BE49-F238E27FC236}">
                <a16:creationId xmlns:a16="http://schemas.microsoft.com/office/drawing/2014/main" id="{C1A3C94D-55B2-4D1A-FD9F-204B389087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01" y="99517"/>
            <a:ext cx="121761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2400" spc="-90" dirty="0">
                <a:latin typeface="Segoe UI Semibold"/>
                <a:cs typeface="Segoe UI Semibold"/>
              </a:rPr>
              <a:t>Кейсы по пилотной апробации прикладных научных разработок на предприятиях </a:t>
            </a:r>
          </a:p>
        </p:txBody>
      </p:sp>
      <p:sp>
        <p:nvSpPr>
          <p:cNvPr id="6180" name="TextBox 2">
            <a:extLst>
              <a:ext uri="{FF2B5EF4-FFF2-40B4-BE49-F238E27FC236}">
                <a16:creationId xmlns:a16="http://schemas.microsoft.com/office/drawing/2014/main" id="{FDE31743-11E2-78C3-6871-B073829F2A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25686" y="5535088"/>
            <a:ext cx="5286375" cy="1092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300" b="1" dirty="0">
                <a:solidFill>
                  <a:srgbClr val="3E226F"/>
                </a:solidFill>
              </a:rPr>
              <a:t>Результаты апробации: </a:t>
            </a:r>
            <a:r>
              <a:rPr lang="ru-RU" altLang="ru-RU" sz="1300" dirty="0"/>
              <a:t>Разработанные методика и Перечень СИЗ в зависимости от вредных производственных факторов и степени их воздействия прошли апробацию на 2-х «пилотных» предприятиях. Получены акты и авторское свидетельство № 39353 от «2» октября 2023 года.</a:t>
            </a:r>
          </a:p>
        </p:txBody>
      </p:sp>
      <p:sp>
        <p:nvSpPr>
          <p:cNvPr id="6181" name="Прямоугольник 68">
            <a:extLst>
              <a:ext uri="{FF2B5EF4-FFF2-40B4-BE49-F238E27FC236}">
                <a16:creationId xmlns:a16="http://schemas.microsoft.com/office/drawing/2014/main" id="{10FC3043-1CBB-4284-6CBB-261924C48D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5206" y="5148262"/>
            <a:ext cx="223996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70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В целях автоматизации процесса выбора СИЗ </a:t>
            </a:r>
          </a:p>
        </p:txBody>
      </p:sp>
      <p:sp>
        <p:nvSpPr>
          <p:cNvPr id="6182" name="TextBox 69">
            <a:extLst>
              <a:ext uri="{FF2B5EF4-FFF2-40B4-BE49-F238E27FC236}">
                <a16:creationId xmlns:a16="http://schemas.microsoft.com/office/drawing/2014/main" id="{E334CA48-B908-37A8-816F-6C1E97A2C1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9700" y="1512888"/>
            <a:ext cx="2041525" cy="2123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>
                <a:latin typeface="Century Gothic" panose="020B0502020202020204" pitchFamily="34" charset="0"/>
              </a:rPr>
              <a:t>ТОО «</a:t>
            </a:r>
            <a:r>
              <a:rPr lang="ru-RU" altLang="ru-RU" sz="1100" b="1" dirty="0" err="1">
                <a:latin typeface="Century Gothic" panose="020B0502020202020204" pitchFamily="34" charset="0"/>
              </a:rPr>
              <a:t>Гидросталь</a:t>
            </a:r>
            <a:r>
              <a:rPr lang="ru-RU" altLang="ru-RU" sz="1100" b="1" dirty="0">
                <a:latin typeface="Century Gothic" panose="020B0502020202020204" pitchFamily="34" charset="0"/>
              </a:rPr>
              <a:t>»</a:t>
            </a:r>
            <a:endParaRPr lang="en-US" altLang="ru-RU" sz="1100" b="1" dirty="0">
              <a:latin typeface="Century Gothic" panose="020B0502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 dirty="0">
                <a:solidFill>
                  <a:srgbClr val="000000"/>
                </a:solidFill>
                <a:latin typeface="Century Gothic" panose="020B0502020202020204" pitchFamily="34" charset="0"/>
              </a:rPr>
              <a:t>Производство </a:t>
            </a:r>
            <a:r>
              <a:rPr lang="kk-KZ" altLang="ru-RU" sz="1100" i="1" dirty="0">
                <a:solidFill>
                  <a:srgbClr val="000000"/>
                </a:solidFill>
                <a:latin typeface="Century Gothic" panose="020B0502020202020204" pitchFamily="34" charset="0"/>
              </a:rPr>
              <a:t>легких металлических конструкций</a:t>
            </a:r>
            <a:endParaRPr lang="ru-RU" altLang="ru-RU" sz="1100" i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 dirty="0">
                <a:solidFill>
                  <a:srgbClr val="000000"/>
                </a:solidFill>
                <a:latin typeface="Century Gothic" panose="020B0502020202020204" pitchFamily="34" charset="0"/>
              </a:rPr>
              <a:t>Численность работников 296 чел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i="1" dirty="0">
                <a:solidFill>
                  <a:srgbClr val="000000"/>
                </a:solidFill>
                <a:latin typeface="Century Gothic" panose="020B0502020202020204" pitchFamily="34" charset="0"/>
              </a:rPr>
              <a:t>АУП</a:t>
            </a:r>
            <a:r>
              <a:rPr lang="ru-RU" altLang="ru-RU" sz="1100" i="1" dirty="0">
                <a:solidFill>
                  <a:srgbClr val="000000"/>
                </a:solidFill>
                <a:latin typeface="Century Gothic" panose="020B0502020202020204" pitchFamily="34" charset="0"/>
              </a:rPr>
              <a:t> – 28 работников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i="1" dirty="0">
                <a:solidFill>
                  <a:srgbClr val="000000"/>
                </a:solidFill>
                <a:latin typeface="Century Gothic" panose="020B0502020202020204" pitchFamily="34" charset="0"/>
              </a:rPr>
              <a:t>Основной персонал </a:t>
            </a:r>
            <a:r>
              <a:rPr lang="ru-RU" altLang="ru-RU" sz="1100" i="1" dirty="0">
                <a:solidFill>
                  <a:srgbClr val="000000"/>
                </a:solidFill>
                <a:latin typeface="Century Gothic" panose="020B0502020202020204" pitchFamily="34" charset="0"/>
              </a:rPr>
              <a:t>– 57 работника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i="1" dirty="0">
                <a:solidFill>
                  <a:srgbClr val="000000"/>
                </a:solidFill>
                <a:latin typeface="Century Gothic" panose="020B0502020202020204" pitchFamily="34" charset="0"/>
              </a:rPr>
              <a:t>Вспомогательный персонал </a:t>
            </a:r>
            <a:r>
              <a:rPr lang="ru-RU" altLang="ru-RU" sz="1100" i="1" dirty="0">
                <a:solidFill>
                  <a:srgbClr val="000000"/>
                </a:solidFill>
                <a:latin typeface="Century Gothic" panose="020B0502020202020204" pitchFamily="34" charset="0"/>
              </a:rPr>
              <a:t>– 211 работника</a:t>
            </a:r>
          </a:p>
        </p:txBody>
      </p: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id="{41D46963-BA83-39C9-13F0-59075ECEC20D}"/>
              </a:ext>
            </a:extLst>
          </p:cNvPr>
          <p:cNvCxnSpPr/>
          <p:nvPr/>
        </p:nvCxnSpPr>
        <p:spPr>
          <a:xfrm>
            <a:off x="2155825" y="923925"/>
            <a:ext cx="39688" cy="4668838"/>
          </a:xfrm>
          <a:prstGeom prst="line">
            <a:avLst/>
          </a:prstGeom>
          <a:ln>
            <a:solidFill>
              <a:srgbClr val="333399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88" name="TextBox 75">
            <a:extLst>
              <a:ext uri="{FF2B5EF4-FFF2-40B4-BE49-F238E27FC236}">
                <a16:creationId xmlns:a16="http://schemas.microsoft.com/office/drawing/2014/main" id="{040FCBD7-3AF0-FFD8-700E-AA0465A35E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725" y="4121149"/>
            <a:ext cx="2020887" cy="2023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ТОО «</a:t>
            </a:r>
            <a:r>
              <a:rPr lang="en-US" altLang="ru-RU" sz="10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ENKI</a:t>
            </a:r>
            <a:r>
              <a:rPr lang="ru-RU" altLang="ru-RU" sz="10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»</a:t>
            </a:r>
            <a:endParaRPr lang="en-US" altLang="ru-RU" sz="10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i="1" dirty="0">
                <a:solidFill>
                  <a:srgbClr val="000000"/>
                </a:solidFill>
                <a:latin typeface="Century Gothic" panose="020B0502020202020204" pitchFamily="34" charset="0"/>
              </a:rPr>
              <a:t>Производство строительных материалов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i="1" dirty="0">
                <a:solidFill>
                  <a:srgbClr val="000000"/>
                </a:solidFill>
                <a:latin typeface="Century Gothic" panose="020B0502020202020204" pitchFamily="34" charset="0"/>
              </a:rPr>
              <a:t>Численность работников 242 чел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i="1" dirty="0">
                <a:solidFill>
                  <a:srgbClr val="000000"/>
                </a:solidFill>
                <a:latin typeface="Century Gothic" panose="020B0502020202020204" pitchFamily="34" charset="0"/>
              </a:rPr>
              <a:t>Обеспечено СИЗ – 190 работников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 i="1" dirty="0">
                <a:solidFill>
                  <a:srgbClr val="000000"/>
                </a:solidFill>
                <a:latin typeface="Century Gothic" panose="020B0502020202020204" pitchFamily="34" charset="0"/>
              </a:rPr>
              <a:t>АУП</a:t>
            </a:r>
            <a:r>
              <a:rPr lang="ru-RU" altLang="ru-RU" sz="1050" i="1" dirty="0">
                <a:solidFill>
                  <a:srgbClr val="000000"/>
                </a:solidFill>
                <a:latin typeface="Century Gothic" panose="020B0502020202020204" pitchFamily="34" charset="0"/>
              </a:rPr>
              <a:t> – 36 работников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 i="1" dirty="0">
                <a:solidFill>
                  <a:srgbClr val="000000"/>
                </a:solidFill>
                <a:latin typeface="Century Gothic" panose="020B0502020202020204" pitchFamily="34" charset="0"/>
              </a:rPr>
              <a:t>Основной персонал </a:t>
            </a:r>
            <a:r>
              <a:rPr lang="ru-RU" altLang="ru-RU" sz="1050" i="1" dirty="0">
                <a:solidFill>
                  <a:srgbClr val="000000"/>
                </a:solidFill>
                <a:latin typeface="Century Gothic" panose="020B0502020202020204" pitchFamily="34" charset="0"/>
              </a:rPr>
              <a:t>– 62 работника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 i="1" dirty="0">
                <a:solidFill>
                  <a:srgbClr val="000000"/>
                </a:solidFill>
                <a:latin typeface="Century Gothic" panose="020B0502020202020204" pitchFamily="34" charset="0"/>
              </a:rPr>
              <a:t>Вспомогательный персонал </a:t>
            </a:r>
            <a:r>
              <a:rPr lang="ru-RU" altLang="ru-RU" sz="1050" i="1" dirty="0">
                <a:solidFill>
                  <a:srgbClr val="000000"/>
                </a:solidFill>
                <a:latin typeface="Century Gothic" panose="020B0502020202020204" pitchFamily="34" charset="0"/>
              </a:rPr>
              <a:t>– 144 работника</a:t>
            </a:r>
            <a:endParaRPr lang="kk-KZ" altLang="ru-RU" sz="1050" i="1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4977B53-D484-BC81-F3AF-A685F3A82183}"/>
              </a:ext>
            </a:extLst>
          </p:cNvPr>
          <p:cNvSpPr/>
          <p:nvPr/>
        </p:nvSpPr>
        <p:spPr>
          <a:xfrm>
            <a:off x="2264568" y="5521325"/>
            <a:ext cx="5332412" cy="3175"/>
          </a:xfrm>
          <a:prstGeom prst="line">
            <a:avLst/>
          </a:prstGeom>
        </p:spPr>
        <p:style>
          <a:lnRef idx="2">
            <a:schemeClr val="accent1">
              <a:shade val="5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191" name="TextBox 8">
            <a:extLst>
              <a:ext uri="{FF2B5EF4-FFF2-40B4-BE49-F238E27FC236}">
                <a16:creationId xmlns:a16="http://schemas.microsoft.com/office/drawing/2014/main" id="{99EF27C6-E807-D913-C28D-B993166E66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747713"/>
            <a:ext cx="24701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 i="1">
                <a:solidFill>
                  <a:srgbClr val="3E226F"/>
                </a:solidFill>
              </a:rPr>
              <a:t>ПИЛОТНЫЕ ПРЕДПРИЯТИЯ</a:t>
            </a:r>
            <a:endParaRPr lang="ru-RU" altLang="ru-RU" sz="1400" i="1"/>
          </a:p>
        </p:txBody>
      </p:sp>
      <p:pic>
        <p:nvPicPr>
          <p:cNvPr id="6192" name="Рисунок 10">
            <a:extLst>
              <a:ext uri="{FF2B5EF4-FFF2-40B4-BE49-F238E27FC236}">
                <a16:creationId xmlns:a16="http://schemas.microsoft.com/office/drawing/2014/main" id="{F958D515-EDD0-204E-FBC8-593DFBA015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97" t="2261" r="3391" b="23563"/>
          <a:stretch>
            <a:fillRect/>
          </a:stretch>
        </p:blipFill>
        <p:spPr bwMode="auto">
          <a:xfrm>
            <a:off x="9953625" y="979488"/>
            <a:ext cx="2116138" cy="248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93" name="Рисунок 11">
            <a:extLst>
              <a:ext uri="{FF2B5EF4-FFF2-40B4-BE49-F238E27FC236}">
                <a16:creationId xmlns:a16="http://schemas.microsoft.com/office/drawing/2014/main" id="{ABDA57E1-4CA5-6BD0-E41E-B11CF6F687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03" t="4781" r="2782" b="19550"/>
          <a:stretch>
            <a:fillRect/>
          </a:stretch>
        </p:blipFill>
        <p:spPr bwMode="auto">
          <a:xfrm>
            <a:off x="9994900" y="3736975"/>
            <a:ext cx="2033588" cy="258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Скругленный прямоугольник 49">
            <a:extLst>
              <a:ext uri="{FF2B5EF4-FFF2-40B4-BE49-F238E27FC236}">
                <a16:creationId xmlns:a16="http://schemas.microsoft.com/office/drawing/2014/main" id="{C02AB46D-3664-A645-1C96-0F8F4B0F7BC3}"/>
              </a:ext>
            </a:extLst>
          </p:cNvPr>
          <p:cNvSpPr/>
          <p:nvPr/>
        </p:nvSpPr>
        <p:spPr>
          <a:xfrm>
            <a:off x="9966325" y="854075"/>
            <a:ext cx="2120900" cy="2725738"/>
          </a:xfrm>
          <a:prstGeom prst="roundRect">
            <a:avLst>
              <a:gd name="adj" fmla="val 15735"/>
            </a:avLst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1" name="Скругленный прямоугольник 50">
            <a:extLst>
              <a:ext uri="{FF2B5EF4-FFF2-40B4-BE49-F238E27FC236}">
                <a16:creationId xmlns:a16="http://schemas.microsoft.com/office/drawing/2014/main" id="{52EF16B0-3C6E-C6D1-B6F0-DE142D306A8E}"/>
              </a:ext>
            </a:extLst>
          </p:cNvPr>
          <p:cNvSpPr/>
          <p:nvPr/>
        </p:nvSpPr>
        <p:spPr>
          <a:xfrm>
            <a:off x="9961563" y="3632200"/>
            <a:ext cx="2117725" cy="2689225"/>
          </a:xfrm>
          <a:prstGeom prst="roundRect">
            <a:avLst>
              <a:gd name="adj" fmla="val 15735"/>
            </a:avLst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5" name="Скругленный прямоугольник 54">
            <a:extLst>
              <a:ext uri="{FF2B5EF4-FFF2-40B4-BE49-F238E27FC236}">
                <a16:creationId xmlns:a16="http://schemas.microsoft.com/office/drawing/2014/main" id="{A5560101-6776-3FF8-AA54-5CF31E515206}"/>
              </a:ext>
            </a:extLst>
          </p:cNvPr>
          <p:cNvSpPr/>
          <p:nvPr/>
        </p:nvSpPr>
        <p:spPr>
          <a:xfrm>
            <a:off x="68263" y="3632200"/>
            <a:ext cx="1993900" cy="2689224"/>
          </a:xfrm>
          <a:prstGeom prst="roundRect">
            <a:avLst>
              <a:gd name="adj" fmla="val 15735"/>
            </a:avLst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6" name="Скругленный прямоугольник 55">
            <a:extLst>
              <a:ext uri="{FF2B5EF4-FFF2-40B4-BE49-F238E27FC236}">
                <a16:creationId xmlns:a16="http://schemas.microsoft.com/office/drawing/2014/main" id="{F3D438B6-0E50-21A1-C7DA-A60B1E612F8A}"/>
              </a:ext>
            </a:extLst>
          </p:cNvPr>
          <p:cNvSpPr/>
          <p:nvPr/>
        </p:nvSpPr>
        <p:spPr>
          <a:xfrm>
            <a:off x="98425" y="1222374"/>
            <a:ext cx="1958975" cy="2350451"/>
          </a:xfrm>
          <a:prstGeom prst="roundRect">
            <a:avLst>
              <a:gd name="adj" fmla="val 15735"/>
            </a:avLst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198" name="TextBox 22">
            <a:extLst>
              <a:ext uri="{FF2B5EF4-FFF2-40B4-BE49-F238E27FC236}">
                <a16:creationId xmlns:a16="http://schemas.microsoft.com/office/drawing/2014/main" id="{2A25E4D5-FEEB-C252-6856-CC68ED8E2B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0" y="1023938"/>
            <a:ext cx="466725" cy="48895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lIns="96000" tIns="96000" rIns="96000" bIns="96000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00" dirty="0">
                <a:solidFill>
                  <a:srgbClr val="FFFFFF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6199" name="TextBox 22">
            <a:extLst>
              <a:ext uri="{FF2B5EF4-FFF2-40B4-BE49-F238E27FC236}">
                <a16:creationId xmlns:a16="http://schemas.microsoft.com/office/drawing/2014/main" id="{8E5CB428-74FA-B846-9394-31952B6914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89" y="3561555"/>
            <a:ext cx="447675" cy="48895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lIns="96000" tIns="96000" rIns="96000" bIns="96000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00" dirty="0">
                <a:solidFill>
                  <a:srgbClr val="FFFFFF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78" name="Левая фигурная скобка 77">
            <a:extLst>
              <a:ext uri="{FF2B5EF4-FFF2-40B4-BE49-F238E27FC236}">
                <a16:creationId xmlns:a16="http://schemas.microsoft.com/office/drawing/2014/main" id="{0A817FFD-FA09-4A4D-7682-AFAE5FBBDE5B}"/>
              </a:ext>
            </a:extLst>
          </p:cNvPr>
          <p:cNvSpPr/>
          <p:nvPr/>
        </p:nvSpPr>
        <p:spPr>
          <a:xfrm>
            <a:off x="9677400" y="2586038"/>
            <a:ext cx="273050" cy="186372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cxnSp>
        <p:nvCxnSpPr>
          <p:cNvPr id="79" name="Прямая со стрелкой 78">
            <a:extLst>
              <a:ext uri="{FF2B5EF4-FFF2-40B4-BE49-F238E27FC236}">
                <a16:creationId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>
            <a:off x="8853488" y="1811708"/>
            <a:ext cx="725488" cy="14793"/>
          </a:xfrm>
          <a:prstGeom prst="straightConnector1">
            <a:avLst/>
          </a:prstGeom>
          <a:ln>
            <a:solidFill>
              <a:schemeClr val="tx2">
                <a:lumMod val="40000"/>
                <a:lumOff val="60000"/>
              </a:schemeClr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id="{7C0580A1-5C3A-2DCF-7588-E96E605CF5AF}"/>
              </a:ext>
            </a:extLst>
          </p:cNvPr>
          <p:cNvCxnSpPr/>
          <p:nvPr/>
        </p:nvCxnSpPr>
        <p:spPr>
          <a:xfrm flipH="1">
            <a:off x="9580563" y="660400"/>
            <a:ext cx="34925" cy="5661025"/>
          </a:xfrm>
          <a:prstGeom prst="line">
            <a:avLst/>
          </a:prstGeom>
          <a:ln>
            <a:solidFill>
              <a:srgbClr val="333399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Стрелка вниз 58">
            <a:extLst>
              <a:ext uri="{FF2B5EF4-FFF2-40B4-BE49-F238E27FC236}">
                <a16:creationId xmlns:a16="http://schemas.microsoft.com/office/drawing/2014/main" id="{7B58BC19-3FFB-75F1-68D0-C337DE4C7560}"/>
              </a:ext>
            </a:extLst>
          </p:cNvPr>
          <p:cNvSpPr/>
          <p:nvPr/>
        </p:nvSpPr>
        <p:spPr>
          <a:xfrm>
            <a:off x="954088" y="1030288"/>
            <a:ext cx="295275" cy="128587"/>
          </a:xfrm>
          <a:prstGeom prst="down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205" name="Прямоугольник 80">
            <a:extLst>
              <a:ext uri="{FF2B5EF4-FFF2-40B4-BE49-F238E27FC236}">
                <a16:creationId xmlns:a16="http://schemas.microsoft.com/office/drawing/2014/main" id="{55DD87E5-F0C7-1C8F-E057-12FB2FB8A6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50475" y="595313"/>
            <a:ext cx="169862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u="sng">
                <a:solidFill>
                  <a:srgbClr val="3E226F"/>
                </a:solidFill>
              </a:rPr>
              <a:t>Результаты апробации</a:t>
            </a:r>
            <a:r>
              <a:rPr lang="ru-RU" altLang="ru-RU" sz="1200" b="1">
                <a:solidFill>
                  <a:srgbClr val="3E226F"/>
                </a:solidFill>
              </a:rPr>
              <a:t> </a:t>
            </a:r>
            <a:endParaRPr lang="ru-RU" altLang="ru-RU" sz="1200"/>
          </a:p>
        </p:txBody>
      </p:sp>
      <p:pic>
        <p:nvPicPr>
          <p:cNvPr id="6206" name="Рисунок 7">
            <a:extLst>
              <a:ext uri="{FF2B5EF4-FFF2-40B4-BE49-F238E27FC236}">
                <a16:creationId xmlns:a16="http://schemas.microsoft.com/office/drawing/2014/main" id="{1742E071-7FEF-BDCD-5EBD-E78A1E236A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6" y="3943350"/>
            <a:ext cx="1860552" cy="258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" name="Стрелка вниз 81">
            <a:extLst>
              <a:ext uri="{FF2B5EF4-FFF2-40B4-BE49-F238E27FC236}">
                <a16:creationId xmlns:a16="http://schemas.microsoft.com/office/drawing/2014/main" id="{B3781CF3-E2C8-E795-1D7B-A96A320821F1}"/>
              </a:ext>
            </a:extLst>
          </p:cNvPr>
          <p:cNvSpPr/>
          <p:nvPr/>
        </p:nvSpPr>
        <p:spPr>
          <a:xfrm>
            <a:off x="8439150" y="3613150"/>
            <a:ext cx="414338" cy="261938"/>
          </a:xfrm>
          <a:prstGeom prst="down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7" name="TextBox 22">
            <a:extLst>
              <a:ext uri="{FF2B5EF4-FFF2-40B4-BE49-F238E27FC236}">
                <a16:creationId xmlns:a16="http://schemas.microsoft.com/office/drawing/2014/main" id="{2A25E4D5-FEEB-C252-6856-CC68ED8E2B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39340" y="844550"/>
            <a:ext cx="466725" cy="48895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lIns="96000" tIns="96000" rIns="96000" bIns="96000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00" dirty="0">
                <a:solidFill>
                  <a:srgbClr val="FFFFFF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69" name="TextBox 22">
            <a:extLst>
              <a:ext uri="{FF2B5EF4-FFF2-40B4-BE49-F238E27FC236}">
                <a16:creationId xmlns:a16="http://schemas.microsoft.com/office/drawing/2014/main" id="{8E5CB428-74FA-B846-9394-31952B6914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1906" y="3572826"/>
            <a:ext cx="447675" cy="48895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lIns="96000" tIns="96000" rIns="96000" bIns="96000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00">
                <a:solidFill>
                  <a:srgbClr val="FFFFFF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6171" name="TextBox 47">
            <a:extLst>
              <a:ext uri="{FF2B5EF4-FFF2-40B4-BE49-F238E27FC236}">
                <a16:creationId xmlns:a16="http://schemas.microsoft.com/office/drawing/2014/main" id="{772054F5-543B-9519-1C30-F25D81BD6E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6001" y="3530600"/>
            <a:ext cx="5381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2" name="TextBox 46">
            <a:extLst>
              <a:ext uri="{FF2B5EF4-FFF2-40B4-BE49-F238E27FC236}">
                <a16:creationId xmlns:a16="http://schemas.microsoft.com/office/drawing/2014/main" id="{3EEB14FD-9FB0-5733-8ACD-987852D949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59214" y="3498055"/>
            <a:ext cx="4810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 dirty="0">
                <a:solidFill>
                  <a:schemeClr val="bg1"/>
                </a:solidFill>
              </a:rPr>
              <a:t>2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AC291334-4210-5B13-F7AD-058EFC4C88F8}"/>
              </a:ext>
            </a:extLst>
          </p:cNvPr>
          <p:cNvGraphicFramePr/>
          <p:nvPr/>
        </p:nvGraphicFramePr>
        <p:xfrm>
          <a:off x="2395538" y="787402"/>
          <a:ext cx="7204074" cy="376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" name="Стрелка углом вверх 1"/>
          <p:cNvSpPr/>
          <p:nvPr/>
        </p:nvSpPr>
        <p:spPr>
          <a:xfrm rot="5400000">
            <a:off x="2389025" y="2921436"/>
            <a:ext cx="1425897" cy="481411"/>
          </a:xfrm>
          <a:prstGeom prst="bentUpArrow">
            <a:avLst>
              <a:gd name="adj1" fmla="val 12574"/>
              <a:gd name="adj2" fmla="val 25000"/>
              <a:gd name="adj3" fmla="val 37426"/>
            </a:avLst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Стрелка вверх 3"/>
          <p:cNvSpPr/>
          <p:nvPr/>
        </p:nvSpPr>
        <p:spPr>
          <a:xfrm>
            <a:off x="4510681" y="2449192"/>
            <a:ext cx="189908" cy="695645"/>
          </a:xfrm>
          <a:prstGeom prst="up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Стрелка вниз 4"/>
          <p:cNvSpPr/>
          <p:nvPr/>
        </p:nvSpPr>
        <p:spPr>
          <a:xfrm>
            <a:off x="5808056" y="2470099"/>
            <a:ext cx="188386" cy="695645"/>
          </a:xfrm>
          <a:prstGeom prst="down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трелка вверх 35"/>
          <p:cNvSpPr/>
          <p:nvPr/>
        </p:nvSpPr>
        <p:spPr>
          <a:xfrm>
            <a:off x="7178985" y="2449192"/>
            <a:ext cx="189908" cy="695645"/>
          </a:xfrm>
          <a:prstGeom prst="up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object 70"/>
          <p:cNvSpPr/>
          <p:nvPr/>
        </p:nvSpPr>
        <p:spPr>
          <a:xfrm>
            <a:off x="-3778" y="117964"/>
            <a:ext cx="58355" cy="511908"/>
          </a:xfrm>
          <a:custGeom>
            <a:avLst/>
            <a:gdLst/>
            <a:ahLst/>
            <a:cxnLst/>
            <a:rect l="l" t="t" r="r" b="b"/>
            <a:pathLst>
              <a:path w="71755" h="788035">
                <a:moveTo>
                  <a:pt x="71628" y="0"/>
                </a:moveTo>
                <a:lnTo>
                  <a:pt x="0" y="0"/>
                </a:lnTo>
                <a:lnTo>
                  <a:pt x="0" y="787908"/>
                </a:lnTo>
                <a:lnTo>
                  <a:pt x="71628" y="787908"/>
                </a:lnTo>
                <a:lnTo>
                  <a:pt x="71628" y="0"/>
                </a:lnTo>
                <a:close/>
              </a:path>
            </a:pathLst>
          </a:custGeom>
          <a:solidFill>
            <a:srgbClr val="B8530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3528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Равнобедренный треугольник 40">
            <a:extLst>
              <a:ext uri="{FF2B5EF4-FFF2-40B4-BE49-F238E27FC236}">
                <a16:creationId xmlns:a16="http://schemas.microsoft.com/office/drawing/2014/main" id="{76A83E48-5669-B92B-D465-BDE7073667CB}"/>
              </a:ext>
            </a:extLst>
          </p:cNvPr>
          <p:cNvSpPr/>
          <p:nvPr/>
        </p:nvSpPr>
        <p:spPr>
          <a:xfrm rot="16200000">
            <a:off x="4690337" y="1819483"/>
            <a:ext cx="735640" cy="362713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285DF390-67D5-DCA0-1334-2C7B5DC9BE54}"/>
              </a:ext>
            </a:extLst>
          </p:cNvPr>
          <p:cNvSpPr/>
          <p:nvPr/>
        </p:nvSpPr>
        <p:spPr>
          <a:xfrm>
            <a:off x="5227530" y="1633020"/>
            <a:ext cx="4418173" cy="3319980"/>
          </a:xfrm>
          <a:prstGeom prst="rect">
            <a:avLst/>
          </a:prstGeom>
          <a:solidFill>
            <a:schemeClr val="accent1">
              <a:lumMod val="20000"/>
              <a:lumOff val="80000"/>
              <a:alpha val="36863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object 41">
            <a:extLst>
              <a:ext uri="{FF2B5EF4-FFF2-40B4-BE49-F238E27FC236}">
                <a16:creationId xmlns:a16="http://schemas.microsoft.com/office/drawing/2014/main" id="{51EA44E7-89CC-475E-618C-F95C49F2C0F6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-85944" y="1372588"/>
            <a:ext cx="147158" cy="1205484"/>
          </a:xfrm>
          <a:prstGeom prst="rect">
            <a:avLst/>
          </a:prstGeom>
        </p:spPr>
      </p:pic>
      <p:pic>
        <p:nvPicPr>
          <p:cNvPr id="6" name="object 42">
            <a:extLst>
              <a:ext uri="{FF2B5EF4-FFF2-40B4-BE49-F238E27FC236}">
                <a16:creationId xmlns:a16="http://schemas.microsoft.com/office/drawing/2014/main" id="{13DB97FC-9F8D-62D9-E761-53B3016BD08D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72196" y="2300704"/>
            <a:ext cx="147158" cy="1205484"/>
          </a:xfrm>
          <a:prstGeom prst="rect">
            <a:avLst/>
          </a:prstGeom>
        </p:spPr>
      </p:pic>
      <p:pic>
        <p:nvPicPr>
          <p:cNvPr id="7" name="object 43">
            <a:extLst>
              <a:ext uri="{FF2B5EF4-FFF2-40B4-BE49-F238E27FC236}">
                <a16:creationId xmlns:a16="http://schemas.microsoft.com/office/drawing/2014/main" id="{23F605A6-4204-066A-949A-B09EF2AA4638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34823" y="2698468"/>
            <a:ext cx="646176" cy="381000"/>
          </a:xfrm>
          <a:prstGeom prst="rect">
            <a:avLst/>
          </a:prstGeom>
        </p:spPr>
      </p:pic>
      <p:pic>
        <p:nvPicPr>
          <p:cNvPr id="8" name="object 44">
            <a:extLst>
              <a:ext uri="{FF2B5EF4-FFF2-40B4-BE49-F238E27FC236}">
                <a16:creationId xmlns:a16="http://schemas.microsoft.com/office/drawing/2014/main" id="{2B3CA608-9FE5-E34F-B6CE-8E0CDD4183EB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19355" y="2625317"/>
            <a:ext cx="903731" cy="813815"/>
          </a:xfrm>
          <a:prstGeom prst="rect">
            <a:avLst/>
          </a:prstGeom>
        </p:spPr>
      </p:pic>
      <p:pic>
        <p:nvPicPr>
          <p:cNvPr id="9" name="object 45">
            <a:extLst>
              <a:ext uri="{FF2B5EF4-FFF2-40B4-BE49-F238E27FC236}">
                <a16:creationId xmlns:a16="http://schemas.microsoft.com/office/drawing/2014/main" id="{5BCF2E7D-02AB-2E9E-3AE0-D6E9F21CC0A2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93447" y="2625317"/>
            <a:ext cx="905255" cy="516636"/>
          </a:xfrm>
          <a:prstGeom prst="rect">
            <a:avLst/>
          </a:prstGeom>
        </p:spPr>
      </p:pic>
      <p:pic>
        <p:nvPicPr>
          <p:cNvPr id="10" name="object 46">
            <a:extLst>
              <a:ext uri="{FF2B5EF4-FFF2-40B4-BE49-F238E27FC236}">
                <a16:creationId xmlns:a16="http://schemas.microsoft.com/office/drawing/2014/main" id="{969786F3-33A9-47B1-5F7C-673079727346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76683" y="1777972"/>
            <a:ext cx="646176" cy="381000"/>
          </a:xfrm>
          <a:prstGeom prst="rect">
            <a:avLst/>
          </a:prstGeom>
        </p:spPr>
      </p:pic>
      <p:pic>
        <p:nvPicPr>
          <p:cNvPr id="11" name="object 47">
            <a:extLst>
              <a:ext uri="{FF2B5EF4-FFF2-40B4-BE49-F238E27FC236}">
                <a16:creationId xmlns:a16="http://schemas.microsoft.com/office/drawing/2014/main" id="{B495910F-23F0-46A9-0C93-0DB14EAEA325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1215" y="1697200"/>
            <a:ext cx="903731" cy="813815"/>
          </a:xfrm>
          <a:prstGeom prst="rect">
            <a:avLst/>
          </a:prstGeom>
        </p:spPr>
      </p:pic>
      <p:pic>
        <p:nvPicPr>
          <p:cNvPr id="12" name="object 48">
            <a:extLst>
              <a:ext uri="{FF2B5EF4-FFF2-40B4-BE49-F238E27FC236}">
                <a16:creationId xmlns:a16="http://schemas.microsoft.com/office/drawing/2014/main" id="{1CB497A9-0010-C113-C49C-EBDBC5B69F82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6831" y="1704820"/>
            <a:ext cx="905255" cy="518160"/>
          </a:xfrm>
          <a:prstGeom prst="rect">
            <a:avLst/>
          </a:prstGeom>
        </p:spPr>
      </p:pic>
      <p:pic>
        <p:nvPicPr>
          <p:cNvPr id="20" name="object 56">
            <a:extLst>
              <a:ext uri="{FF2B5EF4-FFF2-40B4-BE49-F238E27FC236}">
                <a16:creationId xmlns:a16="http://schemas.microsoft.com/office/drawing/2014/main" id="{95283B9A-0197-9C4A-07C9-2A3400DA03AA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340" y="4185892"/>
            <a:ext cx="147158" cy="1203960"/>
          </a:xfrm>
          <a:prstGeom prst="rect">
            <a:avLst/>
          </a:prstGeom>
        </p:spPr>
      </p:pic>
      <p:pic>
        <p:nvPicPr>
          <p:cNvPr id="21" name="object 57">
            <a:extLst>
              <a:ext uri="{FF2B5EF4-FFF2-40B4-BE49-F238E27FC236}">
                <a16:creationId xmlns:a16="http://schemas.microsoft.com/office/drawing/2014/main" id="{9DB12015-A95D-D871-CB46-BE36ED381553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747015" y="4583656"/>
            <a:ext cx="644651" cy="381000"/>
          </a:xfrm>
          <a:prstGeom prst="rect">
            <a:avLst/>
          </a:prstGeom>
        </p:spPr>
      </p:pic>
      <p:pic>
        <p:nvPicPr>
          <p:cNvPr id="22" name="object 58">
            <a:extLst>
              <a:ext uri="{FF2B5EF4-FFF2-40B4-BE49-F238E27FC236}">
                <a16:creationId xmlns:a16="http://schemas.microsoft.com/office/drawing/2014/main" id="{BE246A44-E3FE-86C8-2561-D6AF4BA920E8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28499" y="4508980"/>
            <a:ext cx="903731" cy="813816"/>
          </a:xfrm>
          <a:prstGeom prst="rect">
            <a:avLst/>
          </a:prstGeom>
        </p:spPr>
      </p:pic>
      <p:pic>
        <p:nvPicPr>
          <p:cNvPr id="23" name="object 59">
            <a:extLst>
              <a:ext uri="{FF2B5EF4-FFF2-40B4-BE49-F238E27FC236}">
                <a16:creationId xmlns:a16="http://schemas.microsoft.com/office/drawing/2014/main" id="{36034DB7-FA56-2F37-9669-8DA59CC54B05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405639" y="4508980"/>
            <a:ext cx="905255" cy="516636"/>
          </a:xfrm>
          <a:prstGeom prst="rect">
            <a:avLst/>
          </a:prstGeom>
        </p:spPr>
      </p:pic>
      <p:pic>
        <p:nvPicPr>
          <p:cNvPr id="24" name="object 60">
            <a:extLst>
              <a:ext uri="{FF2B5EF4-FFF2-40B4-BE49-F238E27FC236}">
                <a16:creationId xmlns:a16="http://schemas.microsoft.com/office/drawing/2014/main" id="{8BBCBDDA-3CE3-5977-5717-CEEA75F204E2}"/>
              </a:ext>
            </a:extLst>
          </p:cNvPr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388875" y="3632681"/>
            <a:ext cx="643127" cy="382524"/>
          </a:xfrm>
          <a:prstGeom prst="rect">
            <a:avLst/>
          </a:prstGeom>
        </p:spPr>
      </p:pic>
      <p:pic>
        <p:nvPicPr>
          <p:cNvPr id="25" name="object 61">
            <a:extLst>
              <a:ext uri="{FF2B5EF4-FFF2-40B4-BE49-F238E27FC236}">
                <a16:creationId xmlns:a16="http://schemas.microsoft.com/office/drawing/2014/main" id="{9A6F3B20-61D3-38A8-0D23-8560A3933F9D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0359" y="3561053"/>
            <a:ext cx="903731" cy="813815"/>
          </a:xfrm>
          <a:prstGeom prst="rect">
            <a:avLst/>
          </a:prstGeom>
        </p:spPr>
      </p:pic>
      <p:pic>
        <p:nvPicPr>
          <p:cNvPr id="26" name="object 62">
            <a:extLst>
              <a:ext uri="{FF2B5EF4-FFF2-40B4-BE49-F238E27FC236}">
                <a16:creationId xmlns:a16="http://schemas.microsoft.com/office/drawing/2014/main" id="{6F089028-2D60-41E2-A61A-24612BF9B213}"/>
              </a:ext>
            </a:extLst>
          </p:cNvPr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45975" y="3561053"/>
            <a:ext cx="906780" cy="515112"/>
          </a:xfrm>
          <a:prstGeom prst="rect">
            <a:avLst/>
          </a:prstGeom>
        </p:spPr>
      </p:pic>
      <p:sp>
        <p:nvSpPr>
          <p:cNvPr id="34" name="Rectangle 3">
            <a:extLst>
              <a:ext uri="{FF2B5EF4-FFF2-40B4-BE49-F238E27FC236}">
                <a16:creationId xmlns:a16="http://schemas.microsoft.com/office/drawing/2014/main" id="{484D558B-738B-B414-3F52-2E536245C3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8730" y="2671379"/>
            <a:ext cx="375808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ЧЕСКОЕ СТИМУЛИРОВАНИЕ МЕР ПО СНИЖЕНИЮ ПРОФЕССИОНАЛЬНОГО РИСКА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3E1A3E5-1B6E-DE78-0385-5590E5402588}"/>
              </a:ext>
            </a:extLst>
          </p:cNvPr>
          <p:cNvSpPr txBox="1"/>
          <p:nvPr/>
        </p:nvSpPr>
        <p:spPr>
          <a:xfrm>
            <a:off x="1161104" y="1640744"/>
            <a:ext cx="348331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РНИЗАЦИЯ НАЦИОНАЛЬНОЙ СИСТЕМЫ УПРАВЛЕНИЯ ОХРАНОЙ ТРУДА НА ОСНОВЕ РИСК-ОРИЕНТИРОВАННОГО ПОДХОДА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F550369-A1C0-A9C0-0E7D-62AE83649AE2}"/>
              </a:ext>
            </a:extLst>
          </p:cNvPr>
          <p:cNvSpPr txBox="1"/>
          <p:nvPr/>
        </p:nvSpPr>
        <p:spPr>
          <a:xfrm>
            <a:off x="1359978" y="4557039"/>
            <a:ext cx="360025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just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ЭФФЕКТИВНОСТИ КОНТРОЛЯ И МОНИТОРИНГА В СФЕРЕ ОХРАНЫ ТРУДА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61BEB77-9550-5949-DD89-F907B3CC3683}"/>
              </a:ext>
            </a:extLst>
          </p:cNvPr>
          <p:cNvSpPr txBox="1"/>
          <p:nvPr/>
        </p:nvSpPr>
        <p:spPr>
          <a:xfrm>
            <a:off x="1100422" y="3460249"/>
            <a:ext cx="351552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ПРОФЕССИОНАЛЬНЫХ КОМПЕТЕНЦИЙ И НАУЧНОГО ПОТЕНЦИАЛА В СФЕРЕ ОХРАНЫ ТРУДА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1722A74-B1DC-D3D1-7B93-EDF2E8C6DDD0}"/>
              </a:ext>
            </a:extLst>
          </p:cNvPr>
          <p:cNvSpPr txBox="1"/>
          <p:nvPr/>
        </p:nvSpPr>
        <p:spPr>
          <a:xfrm>
            <a:off x="5218084" y="1721345"/>
            <a:ext cx="4473476" cy="32316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0" i="1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«Будет внедрена модель </a:t>
            </a:r>
            <a:r>
              <a:rPr lang="ru-RU" sz="1200" b="1" i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ourier New" panose="02070309020205020404" pitchFamily="49" charset="0"/>
              </a:rPr>
              <a:t>интегральной ОПР</a:t>
            </a:r>
            <a:r>
              <a:rPr lang="ru-RU" sz="1200" b="0" i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ourier New" panose="02070309020205020404" pitchFamily="49" charset="0"/>
              </a:rPr>
              <a:t>, </a:t>
            </a:r>
            <a:r>
              <a:rPr lang="ru-RU" sz="1200" b="0" i="1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включающей данные о выполнении требований трудового законодательства, результатах оценки индивидуального профессионального риска, показателях ПТ и ПЗ…»</a:t>
            </a:r>
          </a:p>
          <a:p>
            <a:endParaRPr lang="ru-RU" sz="1200" i="1" dirty="0"/>
          </a:p>
          <a:p>
            <a:r>
              <a:rPr lang="ru-RU" sz="1200" i="1" dirty="0">
                <a:solidFill>
                  <a:srgbClr val="000000"/>
                </a:solidFill>
                <a:latin typeface="Courier New" panose="02070309020205020404" pitchFamily="49" charset="0"/>
              </a:rPr>
              <a:t>«Внедрение риск-ориентированного подхода предусматривает </a:t>
            </a:r>
            <a:r>
              <a:rPr lang="ru-RU" sz="1200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Courier New" panose="02070309020205020404" pitchFamily="49" charset="0"/>
              </a:rPr>
              <a:t>исключение процедуры аттестации производственных объектов…</a:t>
            </a:r>
            <a:r>
              <a:rPr lang="ru-RU" sz="1200" i="1" dirty="0">
                <a:solidFill>
                  <a:srgbClr val="000000"/>
                </a:solidFill>
                <a:latin typeface="Courier New" panose="02070309020205020404" pitchFamily="49" charset="0"/>
              </a:rPr>
              <a:t>» </a:t>
            </a:r>
          </a:p>
          <a:p>
            <a:endParaRPr lang="ru-RU" sz="1200" i="1" dirty="0">
              <a:solidFill>
                <a:srgbClr val="000000"/>
              </a:solidFill>
              <a:latin typeface="Courier New" panose="02070309020205020404" pitchFamily="49" charset="0"/>
            </a:endParaRPr>
          </a:p>
          <a:p>
            <a:r>
              <a:rPr lang="ru-RU" sz="1200" i="1" dirty="0">
                <a:solidFill>
                  <a:srgbClr val="000000"/>
                </a:solidFill>
                <a:latin typeface="Courier New" panose="02070309020205020404" pitchFamily="49" charset="0"/>
              </a:rPr>
              <a:t> В цифровой карте предприятий будут отображаться результаты по интегральной оценке и </a:t>
            </a:r>
            <a:r>
              <a:rPr lang="ru-RU" sz="1200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Courier New" panose="02070309020205020404" pitchFamily="49" charset="0"/>
              </a:rPr>
              <a:t>распределению предприятий по степени риска…» </a:t>
            </a:r>
          </a:p>
          <a:p>
            <a:endParaRPr lang="ru-RU" sz="1200" i="1" dirty="0">
              <a:solidFill>
                <a:srgbClr val="000000"/>
              </a:solidFill>
              <a:latin typeface="Courier New" panose="02070309020205020404" pitchFamily="49" charset="0"/>
            </a:endParaRPr>
          </a:p>
          <a:p>
            <a:r>
              <a:rPr lang="ru-RU" sz="1200" i="1" dirty="0">
                <a:solidFill>
                  <a:srgbClr val="000000"/>
                </a:solidFill>
                <a:latin typeface="Courier New" panose="02070309020205020404" pitchFamily="49" charset="0"/>
              </a:rPr>
              <a:t>«Это потребует </a:t>
            </a:r>
            <a:r>
              <a:rPr lang="ru-RU" sz="1200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Courier New" panose="02070309020205020404" pitchFamily="49" charset="0"/>
              </a:rPr>
              <a:t>интеграции государственных информационных систем </a:t>
            </a:r>
            <a:r>
              <a:rPr lang="ru-RU" sz="1200" i="1" dirty="0">
                <a:solidFill>
                  <a:srgbClr val="000000"/>
                </a:solidFill>
                <a:latin typeface="Courier New" panose="02070309020205020404" pitchFamily="49" charset="0"/>
              </a:rPr>
              <a:t>мониторинга условий труда и профессиональных рисков…»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03DE2E5-A91F-09CB-2D0F-FBA903063F92}"/>
              </a:ext>
            </a:extLst>
          </p:cNvPr>
          <p:cNvSpPr txBox="1"/>
          <p:nvPr/>
        </p:nvSpPr>
        <p:spPr>
          <a:xfrm>
            <a:off x="-28131" y="1066800"/>
            <a:ext cx="29079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800" b="1" dirty="0">
                <a:solidFill>
                  <a:srgbClr val="00206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НАПРАВЛЕНИЯ РАЗВИТИЯ </a:t>
            </a: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800" b="1" dirty="0">
                <a:solidFill>
                  <a:srgbClr val="00206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СФЕРЫ ОХРАНЫ ТРУДА</a:t>
            </a:r>
            <a:endParaRPr kumimoji="0" lang="ru-RU" altLang="ru-RU" sz="105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endParaRPr lang="ru-RU" dirty="0"/>
          </a:p>
        </p:txBody>
      </p:sp>
      <p:pic>
        <p:nvPicPr>
          <p:cNvPr id="44" name="object 76">
            <a:extLst>
              <a:ext uri="{FF2B5EF4-FFF2-40B4-BE49-F238E27FC236}">
                <a16:creationId xmlns:a16="http://schemas.microsoft.com/office/drawing/2014/main" id="{BB8B81ED-5C2B-F002-427F-AEBB689110F2}"/>
              </a:ext>
            </a:extLst>
          </p:cNvPr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152400" y="63736"/>
            <a:ext cx="5487871" cy="687323"/>
          </a:xfrm>
          <a:prstGeom prst="rect">
            <a:avLst/>
          </a:prstGeom>
        </p:spPr>
      </p:pic>
      <p:sp>
        <p:nvSpPr>
          <p:cNvPr id="49" name="object 81">
            <a:extLst>
              <a:ext uri="{FF2B5EF4-FFF2-40B4-BE49-F238E27FC236}">
                <a16:creationId xmlns:a16="http://schemas.microsoft.com/office/drawing/2014/main" id="{2782247C-1EA3-47B4-21AE-DE967A39CA41}"/>
              </a:ext>
            </a:extLst>
          </p:cNvPr>
          <p:cNvSpPr txBox="1">
            <a:spLocks/>
          </p:cNvSpPr>
          <p:nvPr/>
        </p:nvSpPr>
        <p:spPr>
          <a:xfrm>
            <a:off x="444427" y="107941"/>
            <a:ext cx="9285890" cy="579646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>
            <a:lvl1pPr algn="ctr">
              <a:defRPr sz="6000" b="1" i="0">
                <a:solidFill>
                  <a:schemeClr val="bg1"/>
                </a:solidFill>
                <a:latin typeface="Tahoma"/>
                <a:ea typeface="+mj-ea"/>
                <a:cs typeface="Tahoma"/>
              </a:defRPr>
            </a:lvl1pPr>
          </a:lstStyle>
          <a:p>
            <a:pPr marL="12700" algn="l">
              <a:spcBef>
                <a:spcPts val="100"/>
              </a:spcBef>
            </a:pPr>
            <a:r>
              <a:rPr lang="ru-RU" sz="1800" kern="0" spc="120" dirty="0">
                <a:solidFill>
                  <a:srgbClr val="002060"/>
                </a:solidFill>
              </a:rPr>
              <a:t>КОНЦЕПЦИЯ БЕЗОПАСНОГО ТРУДА В РЕСПУБЛИКЕ КАЗАХСТАН </a:t>
            </a:r>
          </a:p>
          <a:p>
            <a:pPr marL="12700" algn="l">
              <a:spcBef>
                <a:spcPts val="100"/>
              </a:spcBef>
            </a:pPr>
            <a:r>
              <a:rPr lang="ru-RU" sz="1800" kern="0" spc="120" dirty="0">
                <a:solidFill>
                  <a:srgbClr val="002060"/>
                </a:solidFill>
              </a:rPr>
              <a:t>на 2024-2030 годы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CEE74E0-0E13-4DD6-29F8-3B414B04728C}"/>
              </a:ext>
            </a:extLst>
          </p:cNvPr>
          <p:cNvSpPr txBox="1"/>
          <p:nvPr/>
        </p:nvSpPr>
        <p:spPr>
          <a:xfrm>
            <a:off x="871220" y="717988"/>
            <a:ext cx="9792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61950"/>
            <a:r>
              <a:rPr lang="ru-RU" sz="1200" dirty="0">
                <a:solidFill>
                  <a:srgbClr val="002060"/>
                </a:solidFill>
                <a:latin typeface="Verdana"/>
              </a:rPr>
              <a:t>утверждена Постановлением Правительства Республики Казахстан от 28 декабря 2023 года № 1182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7841D29-3FD6-FE42-216C-2CDACF248C16}"/>
              </a:ext>
            </a:extLst>
          </p:cNvPr>
          <p:cNvSpPr txBox="1"/>
          <p:nvPr/>
        </p:nvSpPr>
        <p:spPr>
          <a:xfrm>
            <a:off x="281340" y="5669075"/>
            <a:ext cx="4824389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Целевой индикатор</a:t>
            </a:r>
          </a:p>
          <a:p>
            <a:r>
              <a:rPr lang="ru-RU" sz="1600" spc="-110" dirty="0">
                <a:solidFill>
                  <a:schemeClr val="accent5">
                    <a:lumMod val="75000"/>
                  </a:schemeClr>
                </a:solidFill>
                <a:latin typeface="Verdana"/>
              </a:rPr>
              <a:t>Охват оценкой профессионального риска действующих активных юридических лиц, %</a:t>
            </a:r>
          </a:p>
          <a:p>
            <a:endParaRPr lang="ru-RU" dirty="0"/>
          </a:p>
        </p:txBody>
      </p:sp>
      <p:graphicFrame>
        <p:nvGraphicFramePr>
          <p:cNvPr id="62" name="Диаграмма 61">
            <a:extLst>
              <a:ext uri="{FF2B5EF4-FFF2-40B4-BE49-F238E27FC236}">
                <a16:creationId xmlns:a16="http://schemas.microsoft.com/office/drawing/2014/main" id="{98344BAA-7B8D-9906-5CE1-D1EAB26A8C63}"/>
              </a:ext>
            </a:extLst>
          </p:cNvPr>
          <p:cNvGraphicFramePr/>
          <p:nvPr/>
        </p:nvGraphicFramePr>
        <p:xfrm>
          <a:off x="5341094" y="5255954"/>
          <a:ext cx="5416979" cy="15387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pic>
        <p:nvPicPr>
          <p:cNvPr id="64" name="object 36">
            <a:extLst>
              <a:ext uri="{FF2B5EF4-FFF2-40B4-BE49-F238E27FC236}">
                <a16:creationId xmlns:a16="http://schemas.microsoft.com/office/drawing/2014/main" id="{A2A36F5F-00A4-9B5C-FBB6-41C776CF160F}"/>
              </a:ext>
            </a:extLst>
          </p:cNvPr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9822578" y="1676400"/>
            <a:ext cx="792480" cy="431115"/>
          </a:xfrm>
          <a:prstGeom prst="rect">
            <a:avLst/>
          </a:prstGeom>
        </p:spPr>
      </p:pic>
      <p:pic>
        <p:nvPicPr>
          <p:cNvPr id="66" name="object 38">
            <a:extLst>
              <a:ext uri="{FF2B5EF4-FFF2-40B4-BE49-F238E27FC236}">
                <a16:creationId xmlns:a16="http://schemas.microsoft.com/office/drawing/2014/main" id="{183AD265-A3E6-5AD5-1B15-3D3CD6CE5524}"/>
              </a:ext>
            </a:extLst>
          </p:cNvPr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9849600" y="4145012"/>
            <a:ext cx="807618" cy="428082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F4FDAFBE-E8A8-A381-AC44-585204099795}"/>
              </a:ext>
            </a:extLst>
          </p:cNvPr>
          <p:cNvSpPr txBox="1"/>
          <p:nvPr/>
        </p:nvSpPr>
        <p:spPr>
          <a:xfrm>
            <a:off x="10628303" y="1679649"/>
            <a:ext cx="807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spc="-110" dirty="0">
                <a:solidFill>
                  <a:schemeClr val="accent5">
                    <a:lumMod val="75000"/>
                  </a:schemeClr>
                </a:solidFill>
                <a:latin typeface="Verdana"/>
              </a:rPr>
              <a:t>ОПР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6C4FB757-956C-841F-11A1-3024191BC8D3}"/>
              </a:ext>
            </a:extLst>
          </p:cNvPr>
          <p:cNvSpPr txBox="1"/>
          <p:nvPr/>
        </p:nvSpPr>
        <p:spPr>
          <a:xfrm>
            <a:off x="10705440" y="2400113"/>
            <a:ext cx="1061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spc="-110" dirty="0">
                <a:solidFill>
                  <a:schemeClr val="accent5">
                    <a:lumMod val="75000"/>
                  </a:schemeClr>
                </a:solidFill>
                <a:latin typeface="Verdana"/>
              </a:rPr>
              <a:t>ОПР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6EE02FF-8864-F2B1-95FD-0287FA1AB800}"/>
              </a:ext>
            </a:extLst>
          </p:cNvPr>
          <p:cNvSpPr txBox="1"/>
          <p:nvPr/>
        </p:nvSpPr>
        <p:spPr>
          <a:xfrm>
            <a:off x="10698244" y="4161507"/>
            <a:ext cx="20271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spc="-110" dirty="0">
                <a:solidFill>
                  <a:schemeClr val="accent5">
                    <a:lumMod val="75000"/>
                  </a:schemeClr>
                </a:solidFill>
                <a:latin typeface="Verdana"/>
              </a:rPr>
              <a:t>ОПР </a:t>
            </a:r>
            <a:r>
              <a:rPr lang="ru-RU" sz="1100" spc="-110" dirty="0">
                <a:solidFill>
                  <a:schemeClr val="accent5">
                    <a:lumMod val="75000"/>
                  </a:schemeClr>
                </a:solidFill>
                <a:latin typeface="Verdana"/>
              </a:rPr>
              <a:t>(+ АПО)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EF8280D-C240-6B3E-E9B7-F019F3E08AC1}"/>
              </a:ext>
            </a:extLst>
          </p:cNvPr>
          <p:cNvSpPr txBox="1"/>
          <p:nvPr/>
        </p:nvSpPr>
        <p:spPr>
          <a:xfrm>
            <a:off x="5094843" y="6581551"/>
            <a:ext cx="59674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F7B92A"/>
                </a:solidFill>
              </a:rPr>
              <a:t>2025     	   2026	       2027	         2028	             2029	                2030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E6E0EA8-3519-3B38-B40A-18225A3A7D39}"/>
              </a:ext>
            </a:extLst>
          </p:cNvPr>
          <p:cNvSpPr txBox="1"/>
          <p:nvPr/>
        </p:nvSpPr>
        <p:spPr>
          <a:xfrm>
            <a:off x="10758073" y="5244748"/>
            <a:ext cx="1447800" cy="14542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dirty="0">
                <a:solidFill>
                  <a:srgbClr val="507874"/>
                </a:solidFill>
              </a:rPr>
              <a:t>Количество действующих активных юридических лиц, тыс. </a:t>
            </a:r>
          </a:p>
          <a:p>
            <a:pPr algn="ctr"/>
            <a:r>
              <a:rPr lang="ru-RU" sz="900" dirty="0">
                <a:solidFill>
                  <a:srgbClr val="FF0000"/>
                </a:solidFill>
              </a:rPr>
              <a:t>*96% малые и микропредприятия с перспективой внедрения  упрощенной оценки</a:t>
            </a:r>
          </a:p>
        </p:txBody>
      </p:sp>
      <p:cxnSp>
        <p:nvCxnSpPr>
          <p:cNvPr id="76" name="Соединитель: уступ 75">
            <a:extLst>
              <a:ext uri="{FF2B5EF4-FFF2-40B4-BE49-F238E27FC236}">
                <a16:creationId xmlns:a16="http://schemas.microsoft.com/office/drawing/2014/main" id="{92FC3BF8-FC86-EAF5-EA75-5BA8EFB253B1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515601" y="6102034"/>
            <a:ext cx="1676401" cy="348266"/>
          </a:xfrm>
          <a:prstGeom prst="bentConnector3">
            <a:avLst>
              <a:gd name="adj1" fmla="val 8052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7A4A10BF-41E7-258C-E8F5-C0673FA1E4F2}"/>
              </a:ext>
            </a:extLst>
          </p:cNvPr>
          <p:cNvSpPr txBox="1"/>
          <p:nvPr/>
        </p:nvSpPr>
        <p:spPr>
          <a:xfrm>
            <a:off x="10698244" y="2923584"/>
            <a:ext cx="1061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spc="-110" dirty="0">
                <a:solidFill>
                  <a:schemeClr val="accent5">
                    <a:lumMod val="75000"/>
                  </a:schemeClr>
                </a:solidFill>
                <a:latin typeface="Verdana"/>
              </a:rPr>
              <a:t>ОПР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C1E66A9B-618F-2149-FBF9-F1ADD7AEF778}"/>
              </a:ext>
            </a:extLst>
          </p:cNvPr>
          <p:cNvSpPr txBox="1"/>
          <p:nvPr/>
        </p:nvSpPr>
        <p:spPr>
          <a:xfrm>
            <a:off x="10705440" y="3513268"/>
            <a:ext cx="1061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spc="-110" dirty="0">
                <a:solidFill>
                  <a:schemeClr val="accent5">
                    <a:lumMod val="75000"/>
                  </a:schemeClr>
                </a:solidFill>
                <a:latin typeface="Verdana"/>
              </a:rPr>
              <a:t>ОПР</a:t>
            </a:r>
          </a:p>
        </p:txBody>
      </p:sp>
      <p:pic>
        <p:nvPicPr>
          <p:cNvPr id="1028" name="Picture 4" descr="Флаг">
            <a:extLst>
              <a:ext uri="{FF2B5EF4-FFF2-40B4-BE49-F238E27FC236}">
                <a16:creationId xmlns:a16="http://schemas.microsoft.com/office/drawing/2014/main" id="{6DFC3BE8-0905-6797-7AC4-3FED4841E4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9600" y="2389953"/>
            <a:ext cx="823870" cy="43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Флаг">
            <a:extLst>
              <a:ext uri="{FF2B5EF4-FFF2-40B4-BE49-F238E27FC236}">
                <a16:creationId xmlns:a16="http://schemas.microsoft.com/office/drawing/2014/main" id="{169CA672-BB32-9055-2D7A-6BB175ECF2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6303" y="2967229"/>
            <a:ext cx="762000" cy="38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Флаг">
            <a:extLst>
              <a:ext uri="{FF2B5EF4-FFF2-40B4-BE49-F238E27FC236}">
                <a16:creationId xmlns:a16="http://schemas.microsoft.com/office/drawing/2014/main" id="{67F7E282-5BD7-363D-BA53-A1C256D35D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8617" y="3455303"/>
            <a:ext cx="762000" cy="509588"/>
          </a:xfrm>
          <a:prstGeom prst="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97981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9">
            <a:extLst>
              <a:ext uri="{FF2B5EF4-FFF2-40B4-BE49-F238E27FC236}">
                <a16:creationId xmlns:a16="http://schemas.microsoft.com/office/drawing/2014/main" id="{D473BEA6-591B-5D91-DBBC-16247723BA8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481" y="51113"/>
            <a:ext cx="1214051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ru-RU" altLang="ru-RU" sz="2000" spc="-90" dirty="0">
                <a:latin typeface="Segoe UI Semibold"/>
                <a:cs typeface="Segoe UI Semibold"/>
              </a:rPr>
              <a:t>Прикладные разработки по определению перечня </a:t>
            </a:r>
            <a:r>
              <a:rPr lang="ru-RU" altLang="ru-RU" sz="2000" spc="-90" dirty="0" err="1">
                <a:latin typeface="Segoe UI Semibold"/>
                <a:cs typeface="Segoe UI Semibold"/>
              </a:rPr>
              <a:t>рискориентированных</a:t>
            </a:r>
            <a:r>
              <a:rPr lang="ru-RU" altLang="ru-RU" sz="2000" spc="-90" dirty="0">
                <a:latin typeface="Segoe UI Semibold"/>
                <a:cs typeface="Segoe UI Semibold"/>
              </a:rPr>
              <a:t> профессиональных компетенций  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CA229814-9383-35F8-15B5-E0E61DEEC5E2}"/>
              </a:ext>
            </a:extLst>
          </p:cNvPr>
          <p:cNvGrpSpPr/>
          <p:nvPr/>
        </p:nvGrpSpPr>
        <p:grpSpPr>
          <a:xfrm>
            <a:off x="221010" y="1425176"/>
            <a:ext cx="11778661" cy="3817518"/>
            <a:chOff x="92261" y="1755526"/>
            <a:chExt cx="11778661" cy="3817518"/>
          </a:xfrm>
        </p:grpSpPr>
        <p:sp>
          <p:nvSpPr>
            <p:cNvPr id="22" name="Прямоугольник: скругленные углы 21">
              <a:extLst>
                <a:ext uri="{FF2B5EF4-FFF2-40B4-BE49-F238E27FC236}">
                  <a16:creationId xmlns:a16="http://schemas.microsoft.com/office/drawing/2014/main" id="{E6E813C9-CA83-E784-06FB-FC5CE079D18F}"/>
                </a:ext>
              </a:extLst>
            </p:cNvPr>
            <p:cNvSpPr/>
            <p:nvPr/>
          </p:nvSpPr>
          <p:spPr>
            <a:xfrm>
              <a:off x="138824" y="3433192"/>
              <a:ext cx="1447354" cy="736434"/>
            </a:xfrm>
            <a:prstGeom prst="roundRect">
              <a:avLst/>
            </a:prstGeom>
            <a:solidFill>
              <a:srgbClr val="7371B3"/>
            </a:solidFill>
            <a:ln>
              <a:solidFill>
                <a:srgbClr val="3C438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Вредные и опасные производственные факторы и риски</a:t>
              </a:r>
              <a:endParaRPr lang="ru-KZ" sz="10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1" name="Блок-схема: узел 20">
              <a:extLst>
                <a:ext uri="{FF2B5EF4-FFF2-40B4-BE49-F238E27FC236}">
                  <a16:creationId xmlns:a16="http://schemas.microsoft.com/office/drawing/2014/main" id="{7DB73228-B0F2-4A28-BAD1-757DE8816DFE}"/>
                </a:ext>
              </a:extLst>
            </p:cNvPr>
            <p:cNvSpPr/>
            <p:nvPr/>
          </p:nvSpPr>
          <p:spPr>
            <a:xfrm>
              <a:off x="109432" y="3322618"/>
              <a:ext cx="194704" cy="204848"/>
            </a:xfrm>
            <a:prstGeom prst="flowChartConnector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2</a:t>
              </a:r>
              <a:endParaRPr lang="ru-KZ" sz="120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23" name="Прямоугольник: скругленные углы 22">
              <a:extLst>
                <a:ext uri="{FF2B5EF4-FFF2-40B4-BE49-F238E27FC236}">
                  <a16:creationId xmlns:a16="http://schemas.microsoft.com/office/drawing/2014/main" id="{27D47B79-CFC4-EDE0-DA9B-2A1585789268}"/>
                </a:ext>
              </a:extLst>
            </p:cNvPr>
            <p:cNvSpPr/>
            <p:nvPr/>
          </p:nvSpPr>
          <p:spPr>
            <a:xfrm>
              <a:off x="284305" y="1783470"/>
              <a:ext cx="5560455" cy="321342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Служба </a:t>
              </a:r>
              <a:r>
                <a:rPr lang="ru-RU" sz="1100" dirty="0" err="1">
                  <a:solidFill>
                    <a:schemeClr val="tx1"/>
                  </a:solidFill>
                  <a:latin typeface="Century Gothic" panose="020B0502020202020204" pitchFamily="34" charset="0"/>
                </a:rPr>
                <a:t>БиОТ</a:t>
              </a:r>
              <a:r>
                <a:rPr lang="ru-RU" sz="11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 (специалист, Учебно-курсовой комбинат)анализирует каждое рабочее место по трем основным составляющим:</a:t>
              </a:r>
              <a:endParaRPr lang="ru-KZ" sz="11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4" name="Стрелка: вправо 23">
              <a:extLst>
                <a:ext uri="{FF2B5EF4-FFF2-40B4-BE49-F238E27FC236}">
                  <a16:creationId xmlns:a16="http://schemas.microsoft.com/office/drawing/2014/main" id="{430A193D-6258-B6A2-A371-108AC345BCC3}"/>
                </a:ext>
              </a:extLst>
            </p:cNvPr>
            <p:cNvSpPr/>
            <p:nvPr/>
          </p:nvSpPr>
          <p:spPr>
            <a:xfrm>
              <a:off x="1617806" y="3704166"/>
              <a:ext cx="244981" cy="175941"/>
            </a:xfrm>
            <a:prstGeom prst="rightArrow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sp>
          <p:nvSpPr>
            <p:cNvPr id="28" name="Прямоугольник: скругленные углы 27">
              <a:extLst>
                <a:ext uri="{FF2B5EF4-FFF2-40B4-BE49-F238E27FC236}">
                  <a16:creationId xmlns:a16="http://schemas.microsoft.com/office/drawing/2014/main" id="{4470A665-2671-C891-1A8B-DFBF0060F2DF}"/>
                </a:ext>
              </a:extLst>
            </p:cNvPr>
            <p:cNvSpPr/>
            <p:nvPr/>
          </p:nvSpPr>
          <p:spPr>
            <a:xfrm>
              <a:off x="2322351" y="3413840"/>
              <a:ext cx="3208381" cy="81291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Оценка профессионального риска;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Аттестация производственных объектов;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Производственный контроль;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Анализ причин несчастных случаев</a:t>
              </a:r>
            </a:p>
            <a:p>
              <a:pPr marL="171450" indent="-171450" algn="just">
                <a:buFont typeface="Wingdings" panose="05000000000000000000" pitchFamily="2" charset="2"/>
                <a:buChar char="ü"/>
              </a:pPr>
              <a:endParaRPr lang="ru-RU" sz="8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7" name="Прямоугольник: скругленные углы 36">
              <a:extLst>
                <a:ext uri="{FF2B5EF4-FFF2-40B4-BE49-F238E27FC236}">
                  <a16:creationId xmlns:a16="http://schemas.microsoft.com/office/drawing/2014/main" id="{7C8F5372-5B65-3404-8747-E5D767CDF541}"/>
                </a:ext>
              </a:extLst>
            </p:cNvPr>
            <p:cNvSpPr/>
            <p:nvPr/>
          </p:nvSpPr>
          <p:spPr>
            <a:xfrm>
              <a:off x="155989" y="4678490"/>
              <a:ext cx="1430188" cy="575887"/>
            </a:xfrm>
            <a:prstGeom prst="roundRect">
              <a:avLst/>
            </a:prstGeom>
            <a:solidFill>
              <a:srgbClr val="7371B3"/>
            </a:solidFill>
            <a:ln>
              <a:solidFill>
                <a:srgbClr val="3C438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Применяемое оборудование, механизмы, машины</a:t>
              </a:r>
              <a:endParaRPr lang="ru-KZ" sz="10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8" name="Блок-схема: узел 37">
              <a:extLst>
                <a:ext uri="{FF2B5EF4-FFF2-40B4-BE49-F238E27FC236}">
                  <a16:creationId xmlns:a16="http://schemas.microsoft.com/office/drawing/2014/main" id="{415B7E17-AECF-BB99-62D9-E0AB77B10FFB}"/>
                </a:ext>
              </a:extLst>
            </p:cNvPr>
            <p:cNvSpPr/>
            <p:nvPr/>
          </p:nvSpPr>
          <p:spPr>
            <a:xfrm>
              <a:off x="95909" y="4574282"/>
              <a:ext cx="194704" cy="204848"/>
            </a:xfrm>
            <a:prstGeom prst="flowChartConnector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3</a:t>
              </a:r>
              <a:endParaRPr lang="ru-KZ" sz="120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9" name="Стрелка: вправо 38">
              <a:extLst>
                <a:ext uri="{FF2B5EF4-FFF2-40B4-BE49-F238E27FC236}">
                  <a16:creationId xmlns:a16="http://schemas.microsoft.com/office/drawing/2014/main" id="{76E9018B-1D7C-7BE4-9BD0-7116B7238E63}"/>
                </a:ext>
              </a:extLst>
            </p:cNvPr>
            <p:cNvSpPr/>
            <p:nvPr/>
          </p:nvSpPr>
          <p:spPr>
            <a:xfrm>
              <a:off x="1616920" y="4854774"/>
              <a:ext cx="244981" cy="175941"/>
            </a:xfrm>
            <a:prstGeom prst="rightArrow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sp>
          <p:nvSpPr>
            <p:cNvPr id="41" name="Прямоугольник: скругленные углы 40">
              <a:extLst>
                <a:ext uri="{FF2B5EF4-FFF2-40B4-BE49-F238E27FC236}">
                  <a16:creationId xmlns:a16="http://schemas.microsoft.com/office/drawing/2014/main" id="{EBE08F98-4A40-C8C3-F349-9FD3594C8B03}"/>
                </a:ext>
              </a:extLst>
            </p:cNvPr>
            <p:cNvSpPr/>
            <p:nvPr/>
          </p:nvSpPr>
          <p:spPr>
            <a:xfrm>
              <a:off x="2301356" y="4433026"/>
              <a:ext cx="3250370" cy="1140018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Паспорт оборудования;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Правила эксплуатации;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Визуально-техническая оценка безопасности оборудования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Нормативно-правовые и технические документы, корпоративные стандарты, техническая документация </a:t>
              </a:r>
            </a:p>
          </p:txBody>
        </p:sp>
        <p:sp>
          <p:nvSpPr>
            <p:cNvPr id="74" name="Прямоугольник: скругленные углы 73">
              <a:extLst>
                <a:ext uri="{FF2B5EF4-FFF2-40B4-BE49-F238E27FC236}">
                  <a16:creationId xmlns:a16="http://schemas.microsoft.com/office/drawing/2014/main" id="{6DA9E92F-0D4A-BF7F-64E1-48FA2F88E48E}"/>
                </a:ext>
              </a:extLst>
            </p:cNvPr>
            <p:cNvSpPr/>
            <p:nvPr/>
          </p:nvSpPr>
          <p:spPr>
            <a:xfrm>
              <a:off x="138823" y="2449044"/>
              <a:ext cx="1447354" cy="450457"/>
            </a:xfrm>
            <a:prstGeom prst="roundRect">
              <a:avLst/>
            </a:prstGeom>
            <a:solidFill>
              <a:srgbClr val="7371B3"/>
            </a:solidFill>
            <a:ln>
              <a:solidFill>
                <a:srgbClr val="3C438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Трудовые функции и задачи </a:t>
              </a:r>
              <a:endParaRPr lang="ru-KZ" sz="10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5" name="Блок-схема: узел 74">
              <a:extLst>
                <a:ext uri="{FF2B5EF4-FFF2-40B4-BE49-F238E27FC236}">
                  <a16:creationId xmlns:a16="http://schemas.microsoft.com/office/drawing/2014/main" id="{5A4722E9-DBD8-3235-1A83-9444F5B95721}"/>
                </a:ext>
              </a:extLst>
            </p:cNvPr>
            <p:cNvSpPr/>
            <p:nvPr/>
          </p:nvSpPr>
          <p:spPr>
            <a:xfrm>
              <a:off x="92261" y="2321865"/>
              <a:ext cx="194704" cy="204848"/>
            </a:xfrm>
            <a:prstGeom prst="flowChartConnector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1</a:t>
              </a:r>
              <a:endParaRPr lang="ru-KZ" sz="120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76" name="Стрелка: вправо 75">
              <a:extLst>
                <a:ext uri="{FF2B5EF4-FFF2-40B4-BE49-F238E27FC236}">
                  <a16:creationId xmlns:a16="http://schemas.microsoft.com/office/drawing/2014/main" id="{28612875-8829-643F-37BD-DEAA6B886096}"/>
                </a:ext>
              </a:extLst>
            </p:cNvPr>
            <p:cNvSpPr/>
            <p:nvPr/>
          </p:nvSpPr>
          <p:spPr>
            <a:xfrm>
              <a:off x="1617806" y="2586302"/>
              <a:ext cx="244981" cy="175941"/>
            </a:xfrm>
            <a:prstGeom prst="rightArrow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sp>
          <p:nvSpPr>
            <p:cNvPr id="78" name="Прямоугольник: скругленные углы 77">
              <a:extLst>
                <a:ext uri="{FF2B5EF4-FFF2-40B4-BE49-F238E27FC236}">
                  <a16:creationId xmlns:a16="http://schemas.microsoft.com/office/drawing/2014/main" id="{0BC5AD92-BE77-0A71-FC1D-4E5E090364EC}"/>
                </a:ext>
              </a:extLst>
            </p:cNvPr>
            <p:cNvSpPr/>
            <p:nvPr/>
          </p:nvSpPr>
          <p:spPr>
            <a:xfrm>
              <a:off x="2322352" y="2308984"/>
              <a:ext cx="3208381" cy="736434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Карточка профессии (</a:t>
              </a:r>
              <a:r>
                <a:rPr lang="ru-RU" sz="1050" dirty="0" err="1">
                  <a:solidFill>
                    <a:schemeClr val="tx1"/>
                  </a:solidFill>
                  <a:latin typeface="Century Gothic" panose="020B0502020202020204" pitchFamily="34" charset="0"/>
                </a:rPr>
                <a:t>профстандарт</a:t>
              </a: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);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Должностные инструкции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ЕТКС, Квалификационный справочник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Описание технологического процесса</a:t>
              </a:r>
            </a:p>
          </p:txBody>
        </p:sp>
        <p:sp>
          <p:nvSpPr>
            <p:cNvPr id="80" name="Прямоугольник: скругленные углы 79">
              <a:extLst>
                <a:ext uri="{FF2B5EF4-FFF2-40B4-BE49-F238E27FC236}">
                  <a16:creationId xmlns:a16="http://schemas.microsoft.com/office/drawing/2014/main" id="{49C5563D-77C7-DE77-07AC-92FBFA47BEE8}"/>
                </a:ext>
              </a:extLst>
            </p:cNvPr>
            <p:cNvSpPr/>
            <p:nvPr/>
          </p:nvSpPr>
          <p:spPr>
            <a:xfrm>
              <a:off x="6151209" y="3413840"/>
              <a:ext cx="4123177" cy="2159203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Безопасные приемы выполнения работ 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Применение средств коллективной защиты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Применение средств индивидуальной защиты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Действия в чрезвычайных ситуациях, основы техники спасения и эвакуации;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Особенности осуществления работ в неблагоприятных погодных условиях;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Предупреждения несчастных случаев, микроповреждений (микротравм) и профессиональных заболеваний;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Оказание доврачебной помощи;</a:t>
              </a:r>
              <a:endParaRPr lang="ru-RU" sz="8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3" name="Прямоугольник: скругленные углы 82">
              <a:extLst>
                <a:ext uri="{FF2B5EF4-FFF2-40B4-BE49-F238E27FC236}">
                  <a16:creationId xmlns:a16="http://schemas.microsoft.com/office/drawing/2014/main" id="{40A5A3AB-CE3B-0591-C209-A4047146B3AA}"/>
                </a:ext>
              </a:extLst>
            </p:cNvPr>
            <p:cNvSpPr/>
            <p:nvPr/>
          </p:nvSpPr>
          <p:spPr>
            <a:xfrm>
              <a:off x="6151209" y="2236721"/>
              <a:ext cx="4123177" cy="1051044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algn="just">
                <a:buFont typeface="Wingdings" panose="05000000000000000000" pitchFamily="2" charset="2"/>
                <a:buChar char="ü"/>
              </a:pPr>
              <a:endParaRPr lang="ru-RU" sz="105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  <a:p>
              <a:pPr marL="228600" indent="-22860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Безопасные приемы выполнения работ</a:t>
              </a:r>
            </a:p>
            <a:p>
              <a:pPr marL="228600" indent="-22860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по основным компетенциям</a:t>
              </a:r>
            </a:p>
            <a:p>
              <a:pPr marL="228600" indent="-228600" algn="just"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Безопасные приемы работ по дополнительным  компетенциям с учетом, специальных допусков и нарядов-допусков на основе специфики производства  и видов работ</a:t>
              </a:r>
            </a:p>
            <a:p>
              <a:pPr marL="171450" indent="-171450" algn="just">
                <a:buFont typeface="Wingdings" panose="05000000000000000000" pitchFamily="2" charset="2"/>
                <a:buChar char="ü"/>
              </a:pPr>
              <a:endParaRPr lang="ru-RU" sz="105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4" name="Прямоугольник: скругленные углы 83">
              <a:extLst>
                <a:ext uri="{FF2B5EF4-FFF2-40B4-BE49-F238E27FC236}">
                  <a16:creationId xmlns:a16="http://schemas.microsoft.com/office/drawing/2014/main" id="{E78B3797-4D4A-5318-700E-AE22251064C2}"/>
                </a:ext>
              </a:extLst>
            </p:cNvPr>
            <p:cNvSpPr/>
            <p:nvPr/>
          </p:nvSpPr>
          <p:spPr>
            <a:xfrm>
              <a:off x="6450312" y="1755526"/>
              <a:ext cx="3114007" cy="321342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Перечень компетенций  </a:t>
              </a:r>
            </a:p>
            <a:p>
              <a:pPr algn="ctr"/>
              <a:r>
                <a:rPr lang="ru-RU" sz="11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по методам безопасной работы</a:t>
              </a:r>
              <a:endParaRPr lang="ru-KZ" sz="11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5" name="Стрелка: вправо 84">
              <a:extLst>
                <a:ext uri="{FF2B5EF4-FFF2-40B4-BE49-F238E27FC236}">
                  <a16:creationId xmlns:a16="http://schemas.microsoft.com/office/drawing/2014/main" id="{CF7DF412-6F31-F377-D354-8FECB830771D}"/>
                </a:ext>
              </a:extLst>
            </p:cNvPr>
            <p:cNvSpPr/>
            <p:nvPr/>
          </p:nvSpPr>
          <p:spPr>
            <a:xfrm>
              <a:off x="5827595" y="3721426"/>
              <a:ext cx="244981" cy="175941"/>
            </a:xfrm>
            <a:prstGeom prst="rightArrow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sp>
          <p:nvSpPr>
            <p:cNvPr id="86" name="Стрелка: вправо 85">
              <a:extLst>
                <a:ext uri="{FF2B5EF4-FFF2-40B4-BE49-F238E27FC236}">
                  <a16:creationId xmlns:a16="http://schemas.microsoft.com/office/drawing/2014/main" id="{D6BBAAAE-8D2A-E066-CEAE-BB489E3247AF}"/>
                </a:ext>
              </a:extLst>
            </p:cNvPr>
            <p:cNvSpPr/>
            <p:nvPr/>
          </p:nvSpPr>
          <p:spPr>
            <a:xfrm>
              <a:off x="5844761" y="4888842"/>
              <a:ext cx="244981" cy="175941"/>
            </a:xfrm>
            <a:prstGeom prst="rightArrow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sp>
          <p:nvSpPr>
            <p:cNvPr id="87" name="Стрелка: вправо 86">
              <a:extLst>
                <a:ext uri="{FF2B5EF4-FFF2-40B4-BE49-F238E27FC236}">
                  <a16:creationId xmlns:a16="http://schemas.microsoft.com/office/drawing/2014/main" id="{A5130997-894B-A1B7-0549-8CDCA7100AFF}"/>
                </a:ext>
              </a:extLst>
            </p:cNvPr>
            <p:cNvSpPr/>
            <p:nvPr/>
          </p:nvSpPr>
          <p:spPr>
            <a:xfrm>
              <a:off x="5827595" y="2603562"/>
              <a:ext cx="244981" cy="175941"/>
            </a:xfrm>
            <a:prstGeom prst="rightArrow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sp>
          <p:nvSpPr>
            <p:cNvPr id="88" name="Равнобедренный треугольник 87">
              <a:extLst>
                <a:ext uri="{FF2B5EF4-FFF2-40B4-BE49-F238E27FC236}">
                  <a16:creationId xmlns:a16="http://schemas.microsoft.com/office/drawing/2014/main" id="{EC0C0CCD-44F7-80D1-42A2-1F802F77A398}"/>
                </a:ext>
              </a:extLst>
            </p:cNvPr>
            <p:cNvSpPr/>
            <p:nvPr/>
          </p:nvSpPr>
          <p:spPr>
            <a:xfrm rot="5400000">
              <a:off x="9638163" y="3716163"/>
              <a:ext cx="1743154" cy="292979"/>
            </a:xfrm>
            <a:prstGeom prst="triangl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E495D3F-FC0C-92EC-0D77-4B89B06C2C8B}"/>
                </a:ext>
              </a:extLst>
            </p:cNvPr>
            <p:cNvSpPr txBox="1"/>
            <p:nvPr/>
          </p:nvSpPr>
          <p:spPr>
            <a:xfrm>
              <a:off x="10561396" y="3884246"/>
              <a:ext cx="1309526" cy="7319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7030A0"/>
                  </a:solidFill>
                </a:rPr>
                <a:t>УЧЕБНАЯ ПРОГРАММА</a:t>
              </a:r>
            </a:p>
            <a:p>
              <a:pPr algn="ctr"/>
              <a:r>
                <a:rPr lang="ru-RU" sz="1400" b="1" dirty="0">
                  <a:solidFill>
                    <a:srgbClr val="7030A0"/>
                  </a:solidFill>
                </a:rPr>
                <a:t>ПО БИОТ</a:t>
              </a:r>
              <a:endParaRPr lang="ru-KZ" sz="1400" b="1" dirty="0">
                <a:solidFill>
                  <a:srgbClr val="7030A0"/>
                </a:solidFill>
              </a:endParaRPr>
            </a:p>
          </p:txBody>
        </p:sp>
        <p:pic>
          <p:nvPicPr>
            <p:cNvPr id="93" name="Рисунок 92" descr="Газета со сплошной заливкой">
              <a:extLst>
                <a:ext uri="{FF2B5EF4-FFF2-40B4-BE49-F238E27FC236}">
                  <a16:creationId xmlns:a16="http://schemas.microsoft.com/office/drawing/2014/main" id="{6BCC27AE-896E-FB47-F0E5-124D22E21E8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713914" y="2810422"/>
              <a:ext cx="901180" cy="1138594"/>
            </a:xfrm>
            <a:prstGeom prst="rect">
              <a:avLst/>
            </a:prstGeom>
          </p:spPr>
        </p:pic>
      </p:grpSp>
      <p:sp>
        <p:nvSpPr>
          <p:cNvPr id="94" name="TextBox 93">
            <a:extLst>
              <a:ext uri="{FF2B5EF4-FFF2-40B4-BE49-F238E27FC236}">
                <a16:creationId xmlns:a16="http://schemas.microsoft.com/office/drawing/2014/main" id="{A136F007-B4BB-4AF8-C168-D1A8E2CFA2BE}"/>
              </a:ext>
            </a:extLst>
          </p:cNvPr>
          <p:cNvSpPr txBox="1"/>
          <p:nvPr/>
        </p:nvSpPr>
        <p:spPr>
          <a:xfrm>
            <a:off x="1418832" y="5406640"/>
            <a:ext cx="1071582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  <a:tabLst>
                <a:tab pos="177800" algn="l"/>
              </a:tabLst>
            </a:pPr>
            <a:r>
              <a:rPr lang="ru-RU" sz="1200" dirty="0"/>
              <a:t>Нормы действующего законодательства , СНиПах и др. документы;</a:t>
            </a:r>
          </a:p>
          <a:p>
            <a:pPr marL="171450" indent="-171450">
              <a:buFont typeface="Wingdings" panose="05000000000000000000" pitchFamily="2" charset="2"/>
              <a:buChar char="ü"/>
              <a:tabLst>
                <a:tab pos="177800" algn="l"/>
              </a:tabLst>
            </a:pPr>
            <a:r>
              <a:rPr lang="ru-RU" sz="1200" dirty="0"/>
              <a:t>Результаты аттестации производственных объектов по условиям труда;</a:t>
            </a:r>
          </a:p>
          <a:p>
            <a:pPr marL="171450" indent="-171450">
              <a:buFont typeface="Wingdings" panose="05000000000000000000" pitchFamily="2" charset="2"/>
              <a:buChar char="ü"/>
              <a:tabLst>
                <a:tab pos="177800" algn="l"/>
              </a:tabLst>
            </a:pPr>
            <a:r>
              <a:rPr lang="ru-RU" sz="1200" dirty="0"/>
              <a:t>Результаты оценки профессиональных рисков;</a:t>
            </a:r>
          </a:p>
          <a:p>
            <a:pPr marL="171450" indent="-171450">
              <a:buFont typeface="Wingdings" panose="05000000000000000000" pitchFamily="2" charset="2"/>
              <a:buChar char="ü"/>
              <a:tabLst>
                <a:tab pos="177800" algn="l"/>
              </a:tabLst>
            </a:pPr>
            <a:r>
              <a:rPr lang="ru-RU" sz="1200" dirty="0"/>
              <a:t>Реестр вредных и опасных производственных факторов и источников опасности, </a:t>
            </a:r>
          </a:p>
          <a:p>
            <a:pPr>
              <a:tabLst>
                <a:tab pos="177800" algn="l"/>
              </a:tabLst>
            </a:pPr>
            <a:r>
              <a:rPr lang="ru-RU" sz="1200" dirty="0"/>
              <a:t>     Перечень работ повышенной опасности; Реестр работ по наряд-допуску;</a:t>
            </a:r>
          </a:p>
          <a:p>
            <a:pPr marL="171450" indent="-171450">
              <a:buFont typeface="Wingdings" panose="05000000000000000000" pitchFamily="2" charset="2"/>
              <a:buChar char="ü"/>
              <a:tabLst>
                <a:tab pos="177800" algn="l"/>
              </a:tabLst>
            </a:pPr>
            <a:r>
              <a:rPr lang="ru-RU" sz="1200" dirty="0"/>
              <a:t>Применение превентивных мер контроля;  </a:t>
            </a:r>
          </a:p>
          <a:p>
            <a:pPr marL="171450" indent="-171450">
              <a:buFont typeface="Wingdings" panose="05000000000000000000" pitchFamily="2" charset="2"/>
              <a:buChar char="ü"/>
              <a:tabLst>
                <a:tab pos="177800" algn="l"/>
              </a:tabLst>
            </a:pPr>
            <a:r>
              <a:rPr lang="ru-RU" sz="1200" dirty="0"/>
              <a:t>Обучение по </a:t>
            </a:r>
            <a:r>
              <a:rPr lang="ru-RU" sz="1200" dirty="0" err="1"/>
              <a:t>БиОТ</a:t>
            </a:r>
            <a:r>
              <a:rPr lang="ru-RU" sz="1200" dirty="0"/>
              <a:t>, промышленной и пожарной безопасности, электробезопасности и др.,  целевые инструктажи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7E305CD-0FE8-266D-784E-BE00A14F12A4}"/>
              </a:ext>
            </a:extLst>
          </p:cNvPr>
          <p:cNvSpPr txBox="1"/>
          <p:nvPr/>
        </p:nvSpPr>
        <p:spPr>
          <a:xfrm>
            <a:off x="221010" y="847018"/>
            <a:ext cx="119192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u="sng" spc="-35" dirty="0">
                <a:solidFill>
                  <a:srgbClr val="002060"/>
                </a:solidFill>
                <a:latin typeface="Arial"/>
                <a:cs typeface="Arial"/>
              </a:rPr>
              <a:t>ПИЛОТНЫЕ ПРЕДПРИЯТИЯ</a:t>
            </a:r>
            <a:r>
              <a:rPr lang="ru-RU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: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О «Богатырь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ир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, ТОО «Казцинк», ТОО «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возосборочный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завод»</a:t>
            </a:r>
            <a:endParaRPr lang="ru-KZ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39B35D87-4C37-2187-E3FB-BB6312B3A6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5706" y="5438701"/>
            <a:ext cx="1043126" cy="104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61907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19">
            <a:extLst>
              <a:ext uri="{FF2B5EF4-FFF2-40B4-BE49-F238E27FC236}">
                <a16:creationId xmlns:a16="http://schemas.microsoft.com/office/drawing/2014/main" id="{8B2A317C-DFA7-4864-AD6F-18C2B6912F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6110" y="122607"/>
            <a:ext cx="10944225" cy="338554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b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АПРОБАЦИЯ ДВУХКОМПОНЕНТНОЙ МОДЕЛИ УСТАНОВЛЕНИЯ СТРАХОВОГО ТАРИФА ОСНС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8D39706F-C3CD-4903-9A8A-53FF1CFE8059}"/>
              </a:ext>
            </a:extLst>
          </p:cNvPr>
          <p:cNvCxnSpPr>
            <a:cxnSpLocks/>
          </p:cNvCxnSpPr>
          <p:nvPr/>
        </p:nvCxnSpPr>
        <p:spPr>
          <a:xfrm>
            <a:off x="307976" y="546152"/>
            <a:ext cx="111045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057AA5B0-E51B-6D07-610A-B9B3DDFF98A5}"/>
              </a:ext>
            </a:extLst>
          </p:cNvPr>
          <p:cNvSpPr txBox="1"/>
          <p:nvPr/>
        </p:nvSpPr>
        <p:spPr>
          <a:xfrm>
            <a:off x="3319923" y="549148"/>
            <a:ext cx="428220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Матрица определения </a:t>
            </a:r>
          </a:p>
          <a:p>
            <a:pPr algn="ctr"/>
            <a:r>
              <a:rPr lang="ru-RU" sz="1200" b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двухкомпонентного страхового тарифа </a:t>
            </a:r>
          </a:p>
        </p:txBody>
      </p:sp>
      <p:graphicFrame>
        <p:nvGraphicFramePr>
          <p:cNvPr id="16" name="Таблица 15">
            <a:extLst>
              <a:ext uri="{FF2B5EF4-FFF2-40B4-BE49-F238E27FC236}">
                <a16:creationId xmlns:a16="http://schemas.microsoft.com/office/drawing/2014/main" id="{B200E069-DD94-1E45-4B8F-E00A96D68858}"/>
              </a:ext>
            </a:extLst>
          </p:cNvPr>
          <p:cNvGraphicFramePr>
            <a:graphicFrameLocks noGrp="1"/>
          </p:cNvGraphicFramePr>
          <p:nvPr/>
        </p:nvGraphicFramePr>
        <p:xfrm>
          <a:off x="3177026" y="1018821"/>
          <a:ext cx="5111008" cy="4720845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1065799">
                  <a:extLst>
                    <a:ext uri="{9D8B030D-6E8A-4147-A177-3AD203B41FA5}">
                      <a16:colId xmlns:a16="http://schemas.microsoft.com/office/drawing/2014/main" val="853454434"/>
                    </a:ext>
                  </a:extLst>
                </a:gridCol>
                <a:gridCol w="793991">
                  <a:extLst>
                    <a:ext uri="{9D8B030D-6E8A-4147-A177-3AD203B41FA5}">
                      <a16:colId xmlns:a16="http://schemas.microsoft.com/office/drawing/2014/main" val="2608103178"/>
                    </a:ext>
                  </a:extLst>
                </a:gridCol>
                <a:gridCol w="845751">
                  <a:extLst>
                    <a:ext uri="{9D8B030D-6E8A-4147-A177-3AD203B41FA5}">
                      <a16:colId xmlns:a16="http://schemas.microsoft.com/office/drawing/2014/main" val="2516252839"/>
                    </a:ext>
                  </a:extLst>
                </a:gridCol>
                <a:gridCol w="864339">
                  <a:extLst>
                    <a:ext uri="{9D8B030D-6E8A-4147-A177-3AD203B41FA5}">
                      <a16:colId xmlns:a16="http://schemas.microsoft.com/office/drawing/2014/main" val="2001973248"/>
                    </a:ext>
                  </a:extLst>
                </a:gridCol>
                <a:gridCol w="780695">
                  <a:extLst>
                    <a:ext uri="{9D8B030D-6E8A-4147-A177-3AD203B41FA5}">
                      <a16:colId xmlns:a16="http://schemas.microsoft.com/office/drawing/2014/main" val="66365164"/>
                    </a:ext>
                  </a:extLst>
                </a:gridCol>
                <a:gridCol w="760433">
                  <a:extLst>
                    <a:ext uri="{9D8B030D-6E8A-4147-A177-3AD203B41FA5}">
                      <a16:colId xmlns:a16="http://schemas.microsoft.com/office/drawing/2014/main" val="730413631"/>
                    </a:ext>
                  </a:extLst>
                </a:gridCol>
              </a:tblGrid>
              <a:tr h="331138"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Класс ПР по ВЭД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(первый компонент)</a:t>
                      </a:r>
                      <a:endParaRPr lang="ru-RU" sz="1000" b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тепень интегрального профессионального риска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i="1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000" b="0" i="1" kern="1200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второй компонент)</a:t>
                      </a:r>
                      <a:endParaRPr lang="ru-RU" sz="1000" b="0" i="1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692" marR="50692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9659179"/>
                  </a:ext>
                </a:extLst>
              </a:tr>
              <a:tr h="1573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 степень</a:t>
                      </a: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2 степень</a:t>
                      </a: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3 степень</a:t>
                      </a: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4 степень</a:t>
                      </a: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 степень</a:t>
                      </a:r>
                    </a:p>
                  </a:txBody>
                  <a:tcPr marL="50692" marR="50692" marT="0" marB="0" anchor="ctr"/>
                </a:tc>
                <a:extLst>
                  <a:ext uri="{0D108BD9-81ED-4DB2-BD59-A6C34878D82A}">
                    <a16:rowId xmlns:a16="http://schemas.microsoft.com/office/drawing/2014/main" val="2267851068"/>
                  </a:ext>
                </a:extLst>
              </a:tr>
              <a:tr h="49140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</a:rPr>
                        <a:t>k</a:t>
                      </a:r>
                      <a:r>
                        <a:rPr lang="ru-RU" sz="1200" baseline="-25000" dirty="0">
                          <a:effectLst/>
                        </a:rPr>
                        <a:t>1</a:t>
                      </a:r>
                      <a:r>
                        <a:rPr lang="ru-RU" sz="1200" dirty="0">
                          <a:effectLst/>
                        </a:rPr>
                        <a:t> (0,8)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</a:t>
                      </a:r>
                      <a:r>
                        <a:rPr lang="ru-RU" sz="1200" kern="1200" baseline="-25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0,9)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00" dirty="0">
                        <a:solidFill>
                          <a:srgbClr val="C00000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dirty="0">
                          <a:effectLst/>
                        </a:rPr>
                        <a:t>(базовый стр. тариф)</a:t>
                      </a:r>
                    </a:p>
                  </a:txBody>
                  <a:tcPr marL="50692" marR="5069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</a:rPr>
                        <a:t>k</a:t>
                      </a:r>
                      <a:r>
                        <a:rPr lang="ru-RU" sz="1200" baseline="-25000" dirty="0">
                          <a:effectLst/>
                        </a:rPr>
                        <a:t>3</a:t>
                      </a:r>
                      <a:r>
                        <a:rPr lang="ru-RU" sz="1200" dirty="0">
                          <a:effectLst/>
                        </a:rPr>
                        <a:t> (1,1)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</a:rPr>
                        <a:t>k</a:t>
                      </a:r>
                      <a:r>
                        <a:rPr lang="ru-RU" sz="1200" baseline="-25000" dirty="0">
                          <a:effectLst/>
                        </a:rPr>
                        <a:t>4</a:t>
                      </a:r>
                      <a:r>
                        <a:rPr lang="ru-RU" sz="1200" dirty="0">
                          <a:effectLst/>
                        </a:rPr>
                        <a:t> (1,2)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/>
                </a:tc>
                <a:extLst>
                  <a:ext uri="{0D108BD9-81ED-4DB2-BD59-A6C34878D82A}">
                    <a16:rowId xmlns:a16="http://schemas.microsoft.com/office/drawing/2014/main" val="1235882318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</a:rPr>
                        <a:t>1</a:t>
                      </a:r>
                      <a:endParaRPr lang="ru-RU" sz="10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1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1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1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1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14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47286291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2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2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2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2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3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3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25855563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3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3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4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4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5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58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1825640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4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3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4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4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5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59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22885406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5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4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4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5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5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6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47141955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</a:rPr>
                        <a:t>6</a:t>
                      </a:r>
                      <a:endParaRPr lang="ru-RU" sz="10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4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4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5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5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64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85759029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7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4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4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5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5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6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83308631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8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5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5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6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8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02951433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9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4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5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5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6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67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60734829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10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8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9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6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3750650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11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6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6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8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9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10039131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12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6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6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8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9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9479439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13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1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74916403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14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7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86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45006064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15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9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1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36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26125140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16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9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1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53353772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17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9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3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14230067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18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9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1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4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6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9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6444027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19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1,5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1,7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1,9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1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57937587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20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6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8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0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2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46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58867962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</a:rPr>
                        <a:t>21</a:t>
                      </a:r>
                      <a:endParaRPr lang="ru-RU" sz="100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0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2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5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7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0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93138207"/>
                  </a:ext>
                </a:extLst>
              </a:tr>
              <a:tr h="163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</a:rPr>
                        <a:t>22</a:t>
                      </a:r>
                      <a:endParaRPr lang="ru-RU" sz="1000" dirty="0"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692" marR="50692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3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6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9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2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5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44345954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20B734CF-9A74-61BF-8409-FDE7F258A6DF}"/>
              </a:ext>
            </a:extLst>
          </p:cNvPr>
          <p:cNvSpPr txBox="1"/>
          <p:nvPr/>
        </p:nvSpPr>
        <p:spPr>
          <a:xfrm>
            <a:off x="172893" y="4896752"/>
            <a:ext cx="289935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Сумма </a:t>
            </a:r>
            <a:r>
              <a:rPr lang="ru-RU" sz="1400" b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уплаченной</a:t>
            </a:r>
            <a:r>
              <a:rPr lang="ru-RU" sz="1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 страховой премий составила   </a:t>
            </a:r>
          </a:p>
          <a:p>
            <a:pPr algn="ctr"/>
            <a:r>
              <a:rPr lang="ru-RU" sz="1400" b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189 342 322 тенге, </a:t>
            </a:r>
            <a:r>
              <a:rPr lang="ru-RU" sz="12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при этом в договоре ОСНС для данного предприятия указан вторичный ОКЭД -</a:t>
            </a:r>
            <a:r>
              <a:rPr lang="ru-RU" sz="1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(</a:t>
            </a:r>
            <a:r>
              <a:rPr lang="ru-RU" sz="12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при ГФОТ 15 661 367 880 </a:t>
            </a:r>
            <a:r>
              <a:rPr lang="ru-RU" sz="1200" i="1" spc="-1" dirty="0" err="1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тг</a:t>
            </a:r>
            <a:r>
              <a:rPr lang="ru-RU" sz="12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)</a:t>
            </a:r>
            <a:endParaRPr lang="ru-RU" sz="1400" i="1" spc="-1" dirty="0">
              <a:solidFill>
                <a:srgbClr val="002060"/>
              </a:solidFill>
              <a:uFill>
                <a:solidFill>
                  <a:srgbClr val="FFFFFF"/>
                </a:solidFill>
              </a:u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1275FF-8EFA-9608-9612-A590B74DC418}"/>
              </a:ext>
            </a:extLst>
          </p:cNvPr>
          <p:cNvSpPr txBox="1"/>
          <p:nvPr/>
        </p:nvSpPr>
        <p:spPr>
          <a:xfrm>
            <a:off x="322694" y="627381"/>
            <a:ext cx="274955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ЖАМБЫЛСКИЙ ФИЛИАЛ </a:t>
            </a:r>
          </a:p>
          <a:p>
            <a:pPr algn="ctr"/>
            <a:r>
              <a:rPr lang="ru-RU" sz="1400" b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ТОО "НДФЗ" "ФОСФОРНЫЙ ЗАВОД"</a:t>
            </a:r>
          </a:p>
        </p:txBody>
      </p:sp>
      <p:sp>
        <p:nvSpPr>
          <p:cNvPr id="6" name="Стрелка: шеврон 5">
            <a:extLst>
              <a:ext uri="{FF2B5EF4-FFF2-40B4-BE49-F238E27FC236}">
                <a16:creationId xmlns:a16="http://schemas.microsoft.com/office/drawing/2014/main" id="{8B316F0E-E64E-64AE-CE9F-140FB3453754}"/>
              </a:ext>
            </a:extLst>
          </p:cNvPr>
          <p:cNvSpPr/>
          <p:nvPr/>
        </p:nvSpPr>
        <p:spPr>
          <a:xfrm rot="5400000">
            <a:off x="1635556" y="1332634"/>
            <a:ext cx="123825" cy="317084"/>
          </a:xfrm>
          <a:prstGeom prst="chevron">
            <a:avLst/>
          </a:prstGeom>
          <a:solidFill>
            <a:srgbClr val="3C43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763470-F5C0-8A50-A76C-651C407E5883}"/>
              </a:ext>
            </a:extLst>
          </p:cNvPr>
          <p:cNvSpPr txBox="1"/>
          <p:nvPr/>
        </p:nvSpPr>
        <p:spPr>
          <a:xfrm>
            <a:off x="172893" y="1638223"/>
            <a:ext cx="305752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ОКЭД - 08910 Добыча минерального сырья для химической промышленности и производства удобрений</a:t>
            </a:r>
          </a:p>
        </p:txBody>
      </p:sp>
      <p:sp>
        <p:nvSpPr>
          <p:cNvPr id="8" name="Стрелка: шеврон 7">
            <a:extLst>
              <a:ext uri="{FF2B5EF4-FFF2-40B4-BE49-F238E27FC236}">
                <a16:creationId xmlns:a16="http://schemas.microsoft.com/office/drawing/2014/main" id="{334C558C-B6BD-23E2-4586-88A9757F13C8}"/>
              </a:ext>
            </a:extLst>
          </p:cNvPr>
          <p:cNvSpPr/>
          <p:nvPr/>
        </p:nvSpPr>
        <p:spPr>
          <a:xfrm rot="5400000">
            <a:off x="1613328" y="2609137"/>
            <a:ext cx="123825" cy="317084"/>
          </a:xfrm>
          <a:prstGeom prst="chevron">
            <a:avLst/>
          </a:prstGeom>
          <a:solidFill>
            <a:srgbClr val="3C43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9BA31C-82BE-ADBA-0F99-12840D661729}"/>
              </a:ext>
            </a:extLst>
          </p:cNvPr>
          <p:cNvSpPr txBox="1"/>
          <p:nvPr/>
        </p:nvSpPr>
        <p:spPr>
          <a:xfrm>
            <a:off x="212296" y="3869576"/>
            <a:ext cx="292532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Класс профриска по виду эконом. деятельности -</a:t>
            </a:r>
            <a:r>
              <a:rPr lang="ru-RU" sz="1400" b="1" spc="-1" dirty="0">
                <a:solidFill>
                  <a:srgbClr val="FF000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19</a:t>
            </a:r>
            <a:r>
              <a:rPr lang="ru-RU" sz="1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, страховой тариф – </a:t>
            </a:r>
            <a:r>
              <a:rPr lang="ru-RU" sz="1400" b="1" spc="-1" dirty="0">
                <a:solidFill>
                  <a:srgbClr val="FF000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1,75%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09ED3AE-FFD2-DE27-ACED-F010982BDC7C}"/>
              </a:ext>
            </a:extLst>
          </p:cNvPr>
          <p:cNvSpPr/>
          <p:nvPr/>
        </p:nvSpPr>
        <p:spPr>
          <a:xfrm>
            <a:off x="3195356" y="4628691"/>
            <a:ext cx="1080000" cy="14400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трелка: шеврон 18">
            <a:extLst>
              <a:ext uri="{FF2B5EF4-FFF2-40B4-BE49-F238E27FC236}">
                <a16:creationId xmlns:a16="http://schemas.microsoft.com/office/drawing/2014/main" id="{C460F936-6A6A-82C1-50FB-F1BC2B65E61D}"/>
              </a:ext>
            </a:extLst>
          </p:cNvPr>
          <p:cNvSpPr/>
          <p:nvPr/>
        </p:nvSpPr>
        <p:spPr>
          <a:xfrm rot="5400000">
            <a:off x="1613047" y="4624543"/>
            <a:ext cx="123825" cy="317084"/>
          </a:xfrm>
          <a:prstGeom prst="chevron">
            <a:avLst/>
          </a:prstGeom>
          <a:solidFill>
            <a:srgbClr val="3C43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E907564-FA0F-A018-CD49-B15A3B44DEA9}"/>
              </a:ext>
            </a:extLst>
          </p:cNvPr>
          <p:cNvSpPr txBox="1"/>
          <p:nvPr/>
        </p:nvSpPr>
        <p:spPr>
          <a:xfrm>
            <a:off x="234806" y="2842400"/>
            <a:ext cx="283743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Страховщик – КСЖ КМ </a:t>
            </a:r>
            <a:r>
              <a:rPr lang="en-US" sz="1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Life </a:t>
            </a:r>
            <a:endParaRPr lang="kk-KZ" sz="1400" spc="-1" dirty="0">
              <a:solidFill>
                <a:srgbClr val="002060"/>
              </a:solidFill>
              <a:uFill>
                <a:solidFill>
                  <a:srgbClr val="FFFFFF"/>
                </a:solidFill>
              </a:u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(срок действия договора </a:t>
            </a:r>
          </a:p>
          <a:p>
            <a:pPr algn="ctr"/>
            <a:r>
              <a:rPr lang="ru-RU" sz="1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с 30.01.2024 г. по 30.01.2025 г.)</a:t>
            </a:r>
          </a:p>
        </p:txBody>
      </p:sp>
      <p:sp>
        <p:nvSpPr>
          <p:cNvPr id="24" name="Стрелка: шеврон 23">
            <a:extLst>
              <a:ext uri="{FF2B5EF4-FFF2-40B4-BE49-F238E27FC236}">
                <a16:creationId xmlns:a16="http://schemas.microsoft.com/office/drawing/2014/main" id="{3CEB1A3E-2293-B3F2-ED1D-6D533E59EAD2}"/>
              </a:ext>
            </a:extLst>
          </p:cNvPr>
          <p:cNvSpPr/>
          <p:nvPr/>
        </p:nvSpPr>
        <p:spPr>
          <a:xfrm rot="5400000">
            <a:off x="1594717" y="3628820"/>
            <a:ext cx="123825" cy="317084"/>
          </a:xfrm>
          <a:prstGeom prst="chevron">
            <a:avLst/>
          </a:prstGeom>
          <a:solidFill>
            <a:srgbClr val="3C43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AD1285E-395D-DBAD-6A7A-798F2689C154}"/>
              </a:ext>
            </a:extLst>
          </p:cNvPr>
          <p:cNvSpPr txBox="1"/>
          <p:nvPr/>
        </p:nvSpPr>
        <p:spPr>
          <a:xfrm>
            <a:off x="3223475" y="5871735"/>
            <a:ext cx="5273563" cy="815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buFont typeface="Arial" panose="020B0604020202020204" pitchFamily="34" charset="0"/>
              <a:buChar char="•"/>
            </a:pPr>
            <a:r>
              <a:rPr lang="ru-RU" sz="11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примечание: k</a:t>
            </a:r>
            <a:r>
              <a:rPr lang="ru-RU" sz="1100" i="1" spc="-1" baseline="-25000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1 </a:t>
            </a:r>
            <a:r>
              <a:rPr lang="ru-RU" sz="11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,</a:t>
            </a:r>
            <a:r>
              <a:rPr lang="sv-SE" sz="11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k</a:t>
            </a:r>
            <a:r>
              <a:rPr lang="ru-RU" sz="1100" i="1" spc="-1" baseline="-25000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2</a:t>
            </a:r>
            <a:r>
              <a:rPr lang="ru-RU" sz="11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 понижающий коэффициент к страховому тарифу, который применяется для страхователя в случае ИОПР 1 и 2 степени</a:t>
            </a:r>
            <a:r>
              <a:rPr lang="ru-RU" sz="14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; </a:t>
            </a:r>
            <a:r>
              <a:rPr lang="ru-RU" sz="11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k</a:t>
            </a:r>
            <a:r>
              <a:rPr lang="ru-RU" sz="1100" i="1" spc="-1" baseline="-25000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  <a:r>
              <a:rPr lang="ru-RU" sz="11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,</a:t>
            </a:r>
            <a:r>
              <a:rPr lang="ru-RU" sz="1100" i="1" spc="-1" baseline="-25000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sv-SE" sz="11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k</a:t>
            </a:r>
            <a:r>
              <a:rPr lang="ru-RU" sz="1100" i="1" spc="-1" baseline="-25000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4</a:t>
            </a:r>
            <a:r>
              <a:rPr lang="sv-SE" sz="11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1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– надбавочный коэффициент, к страховому тарифу, который применяется для страхователя в случае ИОПР 4 и 5 степени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CAED028-287D-6563-9D66-D572B889176A}"/>
              </a:ext>
            </a:extLst>
          </p:cNvPr>
          <p:cNvSpPr txBox="1"/>
          <p:nvPr/>
        </p:nvSpPr>
        <p:spPr>
          <a:xfrm>
            <a:off x="8184507" y="651855"/>
            <a:ext cx="401746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Результаты оценки профриска в</a:t>
            </a:r>
          </a:p>
          <a:p>
            <a:pPr algn="ctr"/>
            <a:r>
              <a:rPr lang="ru-RU" sz="1400" b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ТОО "НДФЗ" "ФОСФОРНЫЙ ЗАВОД"</a:t>
            </a:r>
          </a:p>
        </p:txBody>
      </p:sp>
      <p:sp>
        <p:nvSpPr>
          <p:cNvPr id="29" name="Стрелка: шеврон 28">
            <a:extLst>
              <a:ext uri="{FF2B5EF4-FFF2-40B4-BE49-F238E27FC236}">
                <a16:creationId xmlns:a16="http://schemas.microsoft.com/office/drawing/2014/main" id="{947C87D5-2F65-1F0E-EDC7-10D4FCC7DC17}"/>
              </a:ext>
            </a:extLst>
          </p:cNvPr>
          <p:cNvSpPr/>
          <p:nvPr/>
        </p:nvSpPr>
        <p:spPr>
          <a:xfrm rot="5400000">
            <a:off x="10131327" y="1244913"/>
            <a:ext cx="123825" cy="317084"/>
          </a:xfrm>
          <a:prstGeom prst="chevron">
            <a:avLst/>
          </a:prstGeom>
          <a:solidFill>
            <a:srgbClr val="3C43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9B40421-6563-4CB6-5F88-ABD3B94A73AF}"/>
              </a:ext>
            </a:extLst>
          </p:cNvPr>
          <p:cNvSpPr txBox="1"/>
          <p:nvPr/>
        </p:nvSpPr>
        <p:spPr>
          <a:xfrm>
            <a:off x="8313771" y="1520558"/>
            <a:ext cx="375893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Степень интегральной оценки профриска</a:t>
            </a:r>
            <a:r>
              <a:rPr lang="ru-RU" sz="1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 - </a:t>
            </a:r>
            <a:r>
              <a:rPr lang="ru-RU" sz="1400" b="1" spc="-1" dirty="0">
                <a:solidFill>
                  <a:srgbClr val="C0000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2,95 (3 средняя степень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660B460-EF30-A5A9-23E9-ACC4C8B19BCC}"/>
              </a:ext>
            </a:extLst>
          </p:cNvPr>
          <p:cNvSpPr txBox="1"/>
          <p:nvPr/>
        </p:nvSpPr>
        <p:spPr>
          <a:xfrm>
            <a:off x="8443035" y="2422117"/>
            <a:ext cx="362967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В случае улучшения условий труда и снижении степени профриска до 2, устанавливается страховой тариф </a:t>
            </a:r>
            <a:r>
              <a:rPr lang="ru-RU" sz="1400" b="1" spc="-1" dirty="0">
                <a:solidFill>
                  <a:srgbClr val="C0000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1,58 % и сумма страховой премий составит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1978B09-1CF8-7DF2-3130-B4B6A443086E}"/>
              </a:ext>
            </a:extLst>
          </p:cNvPr>
          <p:cNvSpPr txBox="1"/>
          <p:nvPr/>
        </p:nvSpPr>
        <p:spPr>
          <a:xfrm>
            <a:off x="9073351" y="4513907"/>
            <a:ext cx="2930435" cy="2092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Сумма страховой премий</a:t>
            </a:r>
          </a:p>
          <a:p>
            <a:pPr algn="ctr"/>
            <a:endParaRPr lang="ru-RU" sz="1400" spc="-1" dirty="0">
              <a:solidFill>
                <a:srgbClr val="002060"/>
              </a:solidFill>
              <a:uFill>
                <a:solidFill>
                  <a:srgbClr val="FFFFFF"/>
                </a:solidFill>
              </a:u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400" b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222 391 423,9 тенге</a:t>
            </a:r>
          </a:p>
          <a:p>
            <a:pPr algn="ctr"/>
            <a:endParaRPr lang="ru-RU" sz="1400" spc="-1" dirty="0">
              <a:solidFill>
                <a:srgbClr val="002060"/>
              </a:solidFill>
              <a:uFill>
                <a:solidFill>
                  <a:srgbClr val="FFFFFF"/>
                </a:solidFill>
              </a:u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2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( ГФОТ * </a:t>
            </a:r>
            <a:r>
              <a:rPr lang="ru-RU" sz="1200" i="1" spc="-1" dirty="0" err="1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стр.тариф</a:t>
            </a:r>
            <a:r>
              <a:rPr lang="ru-RU" sz="12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 = </a:t>
            </a:r>
          </a:p>
          <a:p>
            <a:pPr algn="ctr"/>
            <a:r>
              <a:rPr lang="ru-RU" sz="12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15 661 367 880 </a:t>
            </a:r>
            <a:r>
              <a:rPr lang="ru-RU" sz="1200" i="1" spc="-1" dirty="0" err="1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тг</a:t>
            </a:r>
            <a:r>
              <a:rPr lang="ru-RU" sz="12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 * 1,42%)</a:t>
            </a:r>
          </a:p>
          <a:p>
            <a:pPr algn="ctr"/>
            <a:r>
              <a:rPr lang="ru-RU" sz="14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2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сумма надбавки в зависимости от степени ИОПР составит </a:t>
            </a:r>
          </a:p>
          <a:p>
            <a:pPr algn="ctr"/>
            <a:r>
              <a:rPr lang="ru-RU" sz="1200" b="1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39 153 419,9 </a:t>
            </a:r>
            <a:r>
              <a:rPr lang="ru-RU" sz="1200" i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anose="020B0604020202020204" pitchFamily="34" charset="0"/>
              </a:rPr>
              <a:t>тенге</a:t>
            </a:r>
          </a:p>
        </p:txBody>
      </p:sp>
      <p:sp>
        <p:nvSpPr>
          <p:cNvPr id="3" name="Стрелка: шеврон 2">
            <a:extLst>
              <a:ext uri="{FF2B5EF4-FFF2-40B4-BE49-F238E27FC236}">
                <a16:creationId xmlns:a16="http://schemas.microsoft.com/office/drawing/2014/main" id="{09ABE37F-1485-54C6-D97E-ADCF768AFEEF}"/>
              </a:ext>
            </a:extLst>
          </p:cNvPr>
          <p:cNvSpPr/>
          <p:nvPr/>
        </p:nvSpPr>
        <p:spPr>
          <a:xfrm rot="5400000">
            <a:off x="10567100" y="4144567"/>
            <a:ext cx="123825" cy="317084"/>
          </a:xfrm>
          <a:prstGeom prst="chevron">
            <a:avLst/>
          </a:prstGeom>
          <a:solidFill>
            <a:srgbClr val="3C43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" name="Стрелка: шеврон 4">
            <a:extLst>
              <a:ext uri="{FF2B5EF4-FFF2-40B4-BE49-F238E27FC236}">
                <a16:creationId xmlns:a16="http://schemas.microsoft.com/office/drawing/2014/main" id="{8C797253-8CEC-2E63-B6B7-B21A9F0B38BD}"/>
              </a:ext>
            </a:extLst>
          </p:cNvPr>
          <p:cNvSpPr/>
          <p:nvPr/>
        </p:nvSpPr>
        <p:spPr>
          <a:xfrm rot="5400000">
            <a:off x="10131327" y="2165692"/>
            <a:ext cx="123825" cy="317084"/>
          </a:xfrm>
          <a:prstGeom prst="chevron">
            <a:avLst/>
          </a:prstGeom>
          <a:solidFill>
            <a:srgbClr val="3C43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D519590-5A60-F223-F27A-8AD18DC21E0C}"/>
              </a:ext>
            </a:extLst>
          </p:cNvPr>
          <p:cNvSpPr/>
          <p:nvPr/>
        </p:nvSpPr>
        <p:spPr>
          <a:xfrm>
            <a:off x="234806" y="3869576"/>
            <a:ext cx="2787219" cy="738664"/>
          </a:xfrm>
          <a:prstGeom prst="rect">
            <a:avLst/>
          </a:prstGeom>
          <a:noFill/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98342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object 2">
            <a:extLst>
              <a:ext uri="{FF2B5EF4-FFF2-40B4-BE49-F238E27FC236}">
                <a16:creationId xmlns:a16="http://schemas.microsoft.com/office/drawing/2014/main" id="{DA942382-8621-44CD-8795-EC47D51D9655}"/>
              </a:ext>
            </a:extLst>
          </p:cNvPr>
          <p:cNvSpPr txBox="1"/>
          <p:nvPr/>
        </p:nvSpPr>
        <p:spPr>
          <a:xfrm>
            <a:off x="171284" y="41885"/>
            <a:ext cx="12339572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sz="2000" b="1" spc="-5" dirty="0">
                <a:solidFill>
                  <a:srgbClr val="007AAB"/>
                </a:solidFill>
                <a:cs typeface="Verdana"/>
              </a:rPr>
              <a:t>Пилотная апробация функционала мобильного приложения  </a:t>
            </a:r>
          </a:p>
        </p:txBody>
      </p:sp>
      <p:sp>
        <p:nvSpPr>
          <p:cNvPr id="53" name="object 4">
            <a:extLst>
              <a:ext uri="{FF2B5EF4-FFF2-40B4-BE49-F238E27FC236}">
                <a16:creationId xmlns:a16="http://schemas.microsoft.com/office/drawing/2014/main" id="{B59BD9A4-E94E-4D60-B5DD-9CD8AC5E98F2}"/>
              </a:ext>
            </a:extLst>
          </p:cNvPr>
          <p:cNvSpPr/>
          <p:nvPr/>
        </p:nvSpPr>
        <p:spPr>
          <a:xfrm flipV="1">
            <a:off x="296211" y="223071"/>
            <a:ext cx="11367086" cy="341989"/>
          </a:xfrm>
          <a:custGeom>
            <a:avLst/>
            <a:gdLst/>
            <a:ahLst/>
            <a:cxnLst/>
            <a:rect l="l" t="t" r="r" b="b"/>
            <a:pathLst>
              <a:path w="7179945">
                <a:moveTo>
                  <a:pt x="0" y="0"/>
                </a:moveTo>
                <a:lnTo>
                  <a:pt x="7179424" y="0"/>
                </a:lnTo>
              </a:path>
            </a:pathLst>
          </a:custGeom>
          <a:ln w="8890">
            <a:solidFill>
              <a:srgbClr val="2D3E49"/>
            </a:solidFill>
          </a:ln>
        </p:spPr>
        <p:txBody>
          <a:bodyPr wrap="square" lIns="0" tIns="0" rIns="0" bIns="0" rtlCol="0"/>
          <a:lstStyle/>
          <a:p>
            <a:endParaRPr sz="1600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2206663" y="6300801"/>
            <a:ext cx="3368176" cy="584775"/>
          </a:xfrm>
          <a:prstGeom prst="rect">
            <a:avLst/>
          </a:prstGeom>
          <a:ln w="1905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/>
              <a:t>Пилотом охвачено 5 рабочих профессий</a:t>
            </a:r>
          </a:p>
        </p:txBody>
      </p:sp>
      <p:pic>
        <p:nvPicPr>
          <p:cNvPr id="46" name="Рисунок 45" descr="Маркер">
            <a:extLst>
              <a:ext uri="{FF2B5EF4-FFF2-40B4-BE49-F238E27FC236}">
                <a16:creationId xmlns:a16="http://schemas.microsoft.com/office/drawing/2014/main" id="{2F5A841A-BC78-4B1E-A0C2-56C2C925113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-144623" y="519532"/>
            <a:ext cx="565423" cy="565423"/>
          </a:xfrm>
          <a:prstGeom prst="rect">
            <a:avLst/>
          </a:prstGeom>
        </p:spPr>
      </p:pic>
      <p:sp>
        <p:nvSpPr>
          <p:cNvPr id="27" name="object 5">
            <a:extLst>
              <a:ext uri="{FF2B5EF4-FFF2-40B4-BE49-F238E27FC236}">
                <a16:creationId xmlns:a16="http://schemas.microsoft.com/office/drawing/2014/main" id="{D21F123F-1D8F-4A3B-9593-517FE8E5B366}"/>
              </a:ext>
            </a:extLst>
          </p:cNvPr>
          <p:cNvSpPr/>
          <p:nvPr/>
        </p:nvSpPr>
        <p:spPr>
          <a:xfrm>
            <a:off x="2431511" y="6320895"/>
            <a:ext cx="2808000" cy="45719"/>
          </a:xfrm>
          <a:custGeom>
            <a:avLst/>
            <a:gdLst/>
            <a:ahLst/>
            <a:cxnLst/>
            <a:rect l="l" t="t" r="r" b="b"/>
            <a:pathLst>
              <a:path w="6007100">
                <a:moveTo>
                  <a:pt x="0" y="0"/>
                </a:moveTo>
                <a:lnTo>
                  <a:pt x="6007100" y="0"/>
                </a:lnTo>
              </a:path>
            </a:pathLst>
          </a:cu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DE4C789-51CE-412B-9296-DC59C6F0CDD8}"/>
              </a:ext>
            </a:extLst>
          </p:cNvPr>
          <p:cNvSpPr txBox="1"/>
          <p:nvPr/>
        </p:nvSpPr>
        <p:spPr>
          <a:xfrm>
            <a:off x="2362227" y="2772995"/>
            <a:ext cx="294409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b="1" dirty="0">
                <a:solidFill>
                  <a:srgbClr val="057A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паратчик производства желтого фосфора (по сливу феррофосфора)</a:t>
            </a:r>
            <a:r>
              <a:rPr lang="ru-RU" sz="1000" b="1" dirty="0">
                <a:solidFill>
                  <a:srgbClr val="3E2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2F3F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едение процесса конденсации фосфора и перекачка фосфора сырца в отстойники. Отстаивание желтого фосфора от шлака, поддерживание регламентной температуры и перемешивание. </a:t>
            </a:r>
            <a:endParaRPr lang="ru-RU" sz="1000" dirty="0">
              <a:solidFill>
                <a:srgbClr val="2F3F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DE4C789-51CE-412B-9296-DC59C6F0CDD8}"/>
              </a:ext>
            </a:extLst>
          </p:cNvPr>
          <p:cNvSpPr txBox="1"/>
          <p:nvPr/>
        </p:nvSpPr>
        <p:spPr>
          <a:xfrm>
            <a:off x="171284" y="4334783"/>
            <a:ext cx="513503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b="1" dirty="0">
                <a:solidFill>
                  <a:srgbClr val="057A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паратчик производства желтого фосфора </a:t>
            </a:r>
            <a:r>
              <a:rPr lang="ru-RU" sz="1000" dirty="0">
                <a:solidFill>
                  <a:srgbClr val="2F3F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это специалист, отвечающий за контроль и управление процессом производства желтого фосфора, восстановление и возгонка фосфора. Отстаивание желтого фосфора от шлака, поддерживание регламентной температуры и перемешивание. Перекачка желтого фосфора, доведенного до параметров государственного стандарта. </a:t>
            </a:r>
            <a:endParaRPr lang="ru-RU" sz="1000" dirty="0">
              <a:solidFill>
                <a:srgbClr val="2F3F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DE4C789-51CE-412B-9296-DC59C6F0CDD8}"/>
              </a:ext>
            </a:extLst>
          </p:cNvPr>
          <p:cNvSpPr txBox="1"/>
          <p:nvPr/>
        </p:nvSpPr>
        <p:spPr>
          <a:xfrm>
            <a:off x="271655" y="2074767"/>
            <a:ext cx="5034667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b="1" dirty="0">
                <a:solidFill>
                  <a:srgbClr val="057A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паратчик охлаждения </a:t>
            </a:r>
            <a:r>
              <a:rPr lang="ru-RU" sz="1000" dirty="0">
                <a:solidFill>
                  <a:srgbClr val="2F3F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это квалифицированный рабочий, который ведет процесс охлаждения газообразных, жидких и твердых веществ охладителями (водой, воздухом, аммиаком, растворами солей, кислот, щелочей) в химической промышленности.</a:t>
            </a:r>
            <a:endParaRPr lang="ru-RU" sz="1000" dirty="0">
              <a:solidFill>
                <a:srgbClr val="2F3F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73089" y="941955"/>
            <a:ext cx="2433231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dirty="0">
                <a:solidFill>
                  <a:srgbClr val="057A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паратчик сушки</a:t>
            </a:r>
            <a:r>
              <a:rPr lang="ru-RU" sz="1000" dirty="0">
                <a:solidFill>
                  <a:srgbClr val="057A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-</a:t>
            </a:r>
            <a:r>
              <a:rPr lang="ru-RU" sz="1000" dirty="0">
                <a:solidFill>
                  <a:srgbClr val="4D51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это специалист, занимающийся управлением и контролем процесса сушки сырья или материалов в промышленных условиях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784171" y="5222600"/>
            <a:ext cx="2518475" cy="1023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dirty="0">
                <a:solidFill>
                  <a:srgbClr val="057A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олнитель баллонов</a:t>
            </a:r>
            <a:r>
              <a:rPr lang="ru-RU" sz="1000" dirty="0">
                <a:solidFill>
                  <a:srgbClr val="057A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000" dirty="0">
                <a:solidFill>
                  <a:srgbClr val="4D51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это рабочий в обязанности которого входит наполнение баллонов под заданным давлением. При этом емкости могут наполняться как газами, так и химическими веществами.</a:t>
            </a:r>
          </a:p>
        </p:txBody>
      </p:sp>
      <p:sp>
        <p:nvSpPr>
          <p:cNvPr id="2" name="AutoShape 2" descr="blob:https://web.whatsapp.com/83442abb-c3dd-4911-ac1b-1e90efa3c189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" name="AutoShape 4" descr="blob:https://web.whatsapp.com/83442abb-c3dd-4911-ac1b-1e90efa3c189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pic>
        <p:nvPicPr>
          <p:cNvPr id="1026" name="Picture 2" descr="https://eldala.kz/uploads/all/91/99/8a/91998a91b5a482d72db68da39baab28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173" y="2735882"/>
            <a:ext cx="2017490" cy="1577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eldala.kz/uploads/all/3c/7b/07/3c7b07f2da5d423203a66240eaf86e3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285" y="5214788"/>
            <a:ext cx="2092672" cy="1534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s://cdn-kz.kursiv.media/wp-content/uploads/2023/08/ndfz-1024x512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172" y="906314"/>
            <a:ext cx="2350122" cy="1168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1A0AA52C-B224-4184-9162-465B526CA51C}"/>
              </a:ext>
            </a:extLst>
          </p:cNvPr>
          <p:cNvSpPr txBox="1"/>
          <p:nvPr/>
        </p:nvSpPr>
        <p:spPr>
          <a:xfrm>
            <a:off x="307975" y="495507"/>
            <a:ext cx="54768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err="1">
                <a:solidFill>
                  <a:srgbClr val="007AAB"/>
                </a:solidFill>
              </a:rPr>
              <a:t>Новоджамбулский</a:t>
            </a:r>
            <a:r>
              <a:rPr lang="ru-RU" sz="2000" b="1" dirty="0">
                <a:solidFill>
                  <a:srgbClr val="007AAB"/>
                </a:solidFill>
              </a:rPr>
              <a:t> фосфорный завод (НДФЗ)</a:t>
            </a:r>
          </a:p>
        </p:txBody>
      </p:sp>
      <p:pic>
        <p:nvPicPr>
          <p:cNvPr id="32" name="Рисунок 31" descr="Маркер">
            <a:extLst>
              <a:ext uri="{FF2B5EF4-FFF2-40B4-BE49-F238E27FC236}">
                <a16:creationId xmlns:a16="http://schemas.microsoft.com/office/drawing/2014/main" id="{E4A3CF10-AA06-4B40-8C87-DD3786D54E6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870227" y="550350"/>
            <a:ext cx="565423" cy="565423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6AEE59A4-EE15-4391-AEBE-4CD9DC3EBF15}"/>
              </a:ext>
            </a:extLst>
          </p:cNvPr>
          <p:cNvSpPr txBox="1"/>
          <p:nvPr/>
        </p:nvSpPr>
        <p:spPr>
          <a:xfrm>
            <a:off x="7279586" y="550350"/>
            <a:ext cx="54768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7AAB"/>
                </a:solidFill>
              </a:rPr>
              <a:t>КАЗФОСФАТ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2078A933-44CE-4EBF-90BE-29C80193E192}"/>
              </a:ext>
            </a:extLst>
          </p:cNvPr>
          <p:cNvSpPr/>
          <p:nvPr/>
        </p:nvSpPr>
        <p:spPr>
          <a:xfrm>
            <a:off x="8823824" y="6274532"/>
            <a:ext cx="3368176" cy="584775"/>
          </a:xfrm>
          <a:prstGeom prst="rect">
            <a:avLst/>
          </a:prstGeom>
          <a:ln w="1905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/>
              <a:t>Пилотом охвачено 5 рабочих профессий</a:t>
            </a:r>
          </a:p>
        </p:txBody>
      </p:sp>
      <p:sp>
        <p:nvSpPr>
          <p:cNvPr id="35" name="object 5">
            <a:extLst>
              <a:ext uri="{FF2B5EF4-FFF2-40B4-BE49-F238E27FC236}">
                <a16:creationId xmlns:a16="http://schemas.microsoft.com/office/drawing/2014/main" id="{3745DFC1-D7AE-447F-81D1-9A2C3B7F92C0}"/>
              </a:ext>
            </a:extLst>
          </p:cNvPr>
          <p:cNvSpPr/>
          <p:nvPr/>
        </p:nvSpPr>
        <p:spPr>
          <a:xfrm>
            <a:off x="9048672" y="6294626"/>
            <a:ext cx="2808000" cy="45719"/>
          </a:xfrm>
          <a:custGeom>
            <a:avLst/>
            <a:gdLst/>
            <a:ahLst/>
            <a:cxnLst/>
            <a:rect l="l" t="t" r="r" b="b"/>
            <a:pathLst>
              <a:path w="6007100">
                <a:moveTo>
                  <a:pt x="0" y="0"/>
                </a:moveTo>
                <a:lnTo>
                  <a:pt x="6007100" y="0"/>
                </a:lnTo>
              </a:path>
            </a:pathLst>
          </a:cu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9" name="TextBox 22">
            <a:extLst>
              <a:ext uri="{FF2B5EF4-FFF2-40B4-BE49-F238E27FC236}">
                <a16:creationId xmlns:a16="http://schemas.microsoft.com/office/drawing/2014/main" id="{ADE4C789-51CE-412B-9296-DC59C6F0CDD8}"/>
              </a:ext>
            </a:extLst>
          </p:cNvPr>
          <p:cNvSpPr txBox="1"/>
          <p:nvPr/>
        </p:nvSpPr>
        <p:spPr>
          <a:xfrm>
            <a:off x="5776219" y="3609063"/>
            <a:ext cx="5794133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50" b="1" dirty="0" err="1">
                <a:solidFill>
                  <a:srgbClr val="2F3F49"/>
                </a:solidFill>
              </a:rPr>
              <a:t>Электрогазосварщик</a:t>
            </a:r>
            <a:r>
              <a:rPr lang="ru-RU" sz="1050" b="1" dirty="0">
                <a:solidFill>
                  <a:srgbClr val="2F3F49"/>
                </a:solidFill>
              </a:rPr>
              <a:t> </a:t>
            </a:r>
            <a:r>
              <a:rPr lang="ru-RU" sz="1050" dirty="0">
                <a:solidFill>
                  <a:srgbClr val="2F3F49"/>
                </a:solidFill>
              </a:rPr>
              <a:t>– </a:t>
            </a:r>
            <a:r>
              <a:rPr lang="ru-RU" sz="1050" dirty="0"/>
              <a:t>это рабочий, выполняющий соединение крупных деталей, узлов и запчастей при помощи аппаратов ручной электросварки и газосварки.</a:t>
            </a:r>
            <a:endParaRPr lang="ru-RU" sz="1050" dirty="0">
              <a:solidFill>
                <a:srgbClr val="2F3F49"/>
              </a:solidFill>
            </a:endParaRPr>
          </a:p>
        </p:txBody>
      </p:sp>
      <p:sp>
        <p:nvSpPr>
          <p:cNvPr id="50" name="TextBox 23">
            <a:extLst>
              <a:ext uri="{FF2B5EF4-FFF2-40B4-BE49-F238E27FC236}">
                <a16:creationId xmlns:a16="http://schemas.microsoft.com/office/drawing/2014/main" id="{ADE4C789-51CE-412B-9296-DC59C6F0CDD8}"/>
              </a:ext>
            </a:extLst>
          </p:cNvPr>
          <p:cNvSpPr txBox="1"/>
          <p:nvPr/>
        </p:nvSpPr>
        <p:spPr>
          <a:xfrm>
            <a:off x="8693149" y="4424023"/>
            <a:ext cx="3233297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50" b="1" dirty="0"/>
              <a:t>Аппаратчик дозирования - </a:t>
            </a:r>
            <a:r>
              <a:rPr lang="ru-RU" sz="1050" dirty="0"/>
              <a:t>ведение процесса составления смеси и дозирования твердых, жидких и газообразных веществ в реакционные аппараты с помощью различных дозаторов (весовых, объемных, скоростных, дросселирующих и других) в соответствии с заданным соотношением компонентов</a:t>
            </a:r>
            <a:endParaRPr lang="ru-RU" sz="1050" dirty="0">
              <a:solidFill>
                <a:srgbClr val="2F3F49"/>
              </a:solidFill>
            </a:endParaRPr>
          </a:p>
        </p:txBody>
      </p:sp>
      <p:sp>
        <p:nvSpPr>
          <p:cNvPr id="51" name="TextBox 24">
            <a:extLst>
              <a:ext uri="{FF2B5EF4-FFF2-40B4-BE49-F238E27FC236}">
                <a16:creationId xmlns:a16="http://schemas.microsoft.com/office/drawing/2014/main" id="{ADE4C789-51CE-412B-9296-DC59C6F0CDD8}"/>
              </a:ext>
            </a:extLst>
          </p:cNvPr>
          <p:cNvSpPr txBox="1"/>
          <p:nvPr/>
        </p:nvSpPr>
        <p:spPr>
          <a:xfrm>
            <a:off x="5776219" y="2753411"/>
            <a:ext cx="5887078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50" b="1" dirty="0">
                <a:solidFill>
                  <a:srgbClr val="2F3F49"/>
                </a:solidFill>
              </a:rPr>
              <a:t>Аппаратчик нейтрализации </a:t>
            </a:r>
            <a:r>
              <a:rPr lang="ru-RU" sz="1050" dirty="0"/>
              <a:t>— это специалист, ответственный за проведение процесса нейтрализации кислотных или щелочных растворов с использованием соответствующих нейтрализующих средств. Этот процесс включает в себя превращение кислот в соли или щелочи в результате реакции с противоположной щелочью или кислотой.</a:t>
            </a:r>
            <a:endParaRPr lang="ru-RU" sz="1050" dirty="0">
              <a:solidFill>
                <a:srgbClr val="2F3F49"/>
              </a:solidFill>
            </a:endParaRPr>
          </a:p>
        </p:txBody>
      </p:sp>
      <p:sp>
        <p:nvSpPr>
          <p:cNvPr id="54" name="Прямоугольник 4">
            <a:extLst>
              <a:ext uri="{FF2B5EF4-FFF2-40B4-BE49-F238E27FC236}">
                <a16:creationId xmlns:a16="http://schemas.microsoft.com/office/drawing/2014/main" id="{99E1D53B-0401-413C-B1D1-55C812A3308A}"/>
              </a:ext>
            </a:extLst>
          </p:cNvPr>
          <p:cNvSpPr/>
          <p:nvPr/>
        </p:nvSpPr>
        <p:spPr>
          <a:xfrm>
            <a:off x="5812630" y="5859034"/>
            <a:ext cx="6208085" cy="4154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50" b="1" dirty="0">
                <a:solidFill>
                  <a:srgbClr val="2F3F49"/>
                </a:solidFill>
              </a:rPr>
              <a:t>Лаборант химического анализа </a:t>
            </a:r>
            <a:r>
              <a:rPr lang="ru-RU" sz="1050" dirty="0"/>
              <a:t>– это последняя инстанция проверки качества продукта перед его выпуском. Он проводит химический и физико-химический анализы.</a:t>
            </a:r>
          </a:p>
        </p:txBody>
      </p:sp>
      <p:pic>
        <p:nvPicPr>
          <p:cNvPr id="55" name="Picture 54" descr="Picture background">
            <a:extLst>
              <a:ext uri="{FF2B5EF4-FFF2-40B4-BE49-F238E27FC236}">
                <a16:creationId xmlns:a16="http://schemas.microsoft.com/office/drawing/2014/main" id="{B91B4E11-B4D9-4A70-A78B-9206673F12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0307" y="1199244"/>
            <a:ext cx="2865291" cy="1438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Прямоугольник 31">
            <a:extLst>
              <a:ext uri="{FF2B5EF4-FFF2-40B4-BE49-F238E27FC236}">
                <a16:creationId xmlns:a16="http://schemas.microsoft.com/office/drawing/2014/main" id="{5E11F90C-7F46-4D07-8D78-CB10F996E921}"/>
              </a:ext>
            </a:extLst>
          </p:cNvPr>
          <p:cNvSpPr/>
          <p:nvPr/>
        </p:nvSpPr>
        <p:spPr>
          <a:xfrm>
            <a:off x="9318911" y="1417521"/>
            <a:ext cx="2217505" cy="10618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50" b="1" dirty="0">
                <a:solidFill>
                  <a:srgbClr val="3E2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паратчик сушки </a:t>
            </a:r>
            <a:r>
              <a:rPr lang="ru-RU" sz="1050" dirty="0">
                <a:solidFill>
                  <a:srgbClr val="3E2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050" dirty="0">
                <a:solidFill>
                  <a:srgbClr val="4D51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>
                <a:latin typeface="Arial" panose="020B0604020202020204" pitchFamily="34" charset="0"/>
                <a:cs typeface="Arial" panose="020B0604020202020204" pitchFamily="34" charset="0"/>
              </a:rPr>
              <a:t>это специалист, занимающийся управлением и контролем процесса сушки сырья или материалов в промышленных условиях.</a:t>
            </a:r>
          </a:p>
        </p:txBody>
      </p:sp>
      <p:pic>
        <p:nvPicPr>
          <p:cNvPr id="57" name="Picture 56" descr=" Горно-перерабатывающий комплекс «Казфосфат»">
            <a:extLst>
              <a:ext uri="{FF2B5EF4-FFF2-40B4-BE49-F238E27FC236}">
                <a16:creationId xmlns:a16="http://schemas.microsoft.com/office/drawing/2014/main" id="{DF40161C-E502-4B95-AA47-537728D199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198" y="4218483"/>
            <a:ext cx="2624688" cy="1623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647069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13A5A25-7FB6-4A30-24F2-B6A7F6CE9A3D}"/>
              </a:ext>
            </a:extLst>
          </p:cNvPr>
          <p:cNvSpPr txBox="1"/>
          <p:nvPr/>
        </p:nvSpPr>
        <p:spPr>
          <a:xfrm>
            <a:off x="1003525" y="698111"/>
            <a:ext cx="4051553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7030A0"/>
                </a:solidFill>
                <a:latin typeface="Verdana"/>
              </a:rPr>
              <a:t>Балхашский медеплавильный завод</a:t>
            </a:r>
          </a:p>
          <a:p>
            <a:pPr algn="ctr"/>
            <a:r>
              <a:rPr lang="ru-RU" sz="1400" b="1" dirty="0">
                <a:solidFill>
                  <a:srgbClr val="7030A0"/>
                </a:solidFill>
                <a:latin typeface="Verdana"/>
              </a:rPr>
              <a:t> состоит из 2-х цехов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AAD4709-5C72-5DDB-DC85-AA1533EDB0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644" y="153356"/>
            <a:ext cx="11256004" cy="549400"/>
          </a:xfrm>
          <a:prstGeom prst="rect">
            <a:avLst/>
          </a:prstGeom>
        </p:spPr>
      </p:pic>
      <p:pic>
        <p:nvPicPr>
          <p:cNvPr id="4" name="Picture 2" descr="Коллектив металлоплавильного завода">
            <a:extLst>
              <a:ext uri="{FF2B5EF4-FFF2-40B4-BE49-F238E27FC236}">
                <a16:creationId xmlns:a16="http://schemas.microsoft.com/office/drawing/2014/main" id="{030B9D8A-4F52-0BD3-3ABC-F145E1CB8B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373" y="1376285"/>
            <a:ext cx="3864637" cy="2781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B8BF8CE-64E8-0503-D95F-C37B60AB0A6F}"/>
              </a:ext>
            </a:extLst>
          </p:cNvPr>
          <p:cNvSpPr/>
          <p:nvPr/>
        </p:nvSpPr>
        <p:spPr>
          <a:xfrm>
            <a:off x="942295" y="4317294"/>
            <a:ext cx="3119901" cy="584775"/>
          </a:xfrm>
          <a:prstGeom prst="rect">
            <a:avLst/>
          </a:prstGeom>
          <a:ln w="19050">
            <a:solidFill>
              <a:srgbClr val="FFFFFF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Verdana"/>
              </a:rPr>
              <a:t>Общее количество  рабочих мест - 1367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C859640-20AC-77B3-6B72-52A5E5D0EA47}"/>
              </a:ext>
            </a:extLst>
          </p:cNvPr>
          <p:cNvSpPr/>
          <p:nvPr/>
        </p:nvSpPr>
        <p:spPr>
          <a:xfrm>
            <a:off x="1003525" y="5132368"/>
            <a:ext cx="2579984" cy="584775"/>
          </a:xfrm>
          <a:prstGeom prst="rect">
            <a:avLst/>
          </a:prstGeom>
          <a:ln w="19050">
            <a:solidFill>
              <a:srgbClr val="FFFFFF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Verdana"/>
              </a:rPr>
              <a:t>Пилотом охвачено 111 рабочих мест</a:t>
            </a:r>
          </a:p>
        </p:txBody>
      </p:sp>
      <p:sp>
        <p:nvSpPr>
          <p:cNvPr id="7" name="Правая фигурная скобка 6">
            <a:extLst>
              <a:ext uri="{FF2B5EF4-FFF2-40B4-BE49-F238E27FC236}">
                <a16:creationId xmlns:a16="http://schemas.microsoft.com/office/drawing/2014/main" id="{74364271-FE6D-127D-9AD2-182C41CB11E9}"/>
              </a:ext>
            </a:extLst>
          </p:cNvPr>
          <p:cNvSpPr/>
          <p:nvPr/>
        </p:nvSpPr>
        <p:spPr>
          <a:xfrm flipH="1">
            <a:off x="4925963" y="959721"/>
            <a:ext cx="413499" cy="5035637"/>
          </a:xfrm>
          <a:prstGeom prst="rightBrace">
            <a:avLst>
              <a:gd name="adj1" fmla="val 10065"/>
              <a:gd name="adj2" fmla="val 50634"/>
            </a:avLst>
          </a:prstGeom>
          <a:noFill/>
          <a:ln w="28575" cap="flat" cmpd="sng" algn="ctr">
            <a:solidFill>
              <a:srgbClr val="3F51B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FD1A77D-6D7A-92AB-34CB-7C63E1E88169}"/>
              </a:ext>
            </a:extLst>
          </p:cNvPr>
          <p:cNvSpPr txBox="1"/>
          <p:nvPr/>
        </p:nvSpPr>
        <p:spPr>
          <a:xfrm>
            <a:off x="5794646" y="701464"/>
            <a:ext cx="2930133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>
                <a:solidFill>
                  <a:srgbClr val="ED2D42"/>
                </a:solidFill>
              </a:defRPr>
            </a:lvl1pPr>
          </a:lstStyle>
          <a:p>
            <a:r>
              <a:rPr lang="ru-RU" sz="1600" dirty="0">
                <a:solidFill>
                  <a:srgbClr val="7030A0"/>
                </a:solidFill>
                <a:latin typeface="Verdana"/>
              </a:rPr>
              <a:t>Драгметальный цех </a:t>
            </a:r>
          </a:p>
          <a:p>
            <a:r>
              <a:rPr lang="ru-RU" sz="1600" dirty="0">
                <a:solidFill>
                  <a:srgbClr val="7030A0"/>
                </a:solidFill>
                <a:latin typeface="Verdana"/>
              </a:rPr>
              <a:t>(44 рабочих мест) </a:t>
            </a:r>
          </a:p>
        </p:txBody>
      </p:sp>
      <p:pic>
        <p:nvPicPr>
          <p:cNvPr id="9" name="Picture 2" descr="Плавильщик медеплавильного завода">
            <a:extLst>
              <a:ext uri="{FF2B5EF4-FFF2-40B4-BE49-F238E27FC236}">
                <a16:creationId xmlns:a16="http://schemas.microsoft.com/office/drawing/2014/main" id="{EED7F15D-DF18-6E4F-9C34-4252E1B304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7875" y="1696878"/>
            <a:ext cx="3228540" cy="2833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06FAC0-2280-4054-DB25-12990596659B}"/>
              </a:ext>
            </a:extLst>
          </p:cNvPr>
          <p:cNvSpPr txBox="1"/>
          <p:nvPr/>
        </p:nvSpPr>
        <p:spPr>
          <a:xfrm>
            <a:off x="5770691" y="4646857"/>
            <a:ext cx="2794362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>
                <a:solidFill>
                  <a:srgbClr val="ED2D42"/>
                </a:solidFill>
              </a:defRPr>
            </a:lvl1pPr>
          </a:lstStyle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Verdana"/>
              </a:rPr>
              <a:t>Медеплавильный цех (67 рабочих мест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DE863A-1203-55D3-B2CA-0C2C09B10EEE}"/>
              </a:ext>
            </a:extLst>
          </p:cNvPr>
          <p:cNvSpPr txBox="1"/>
          <p:nvPr/>
        </p:nvSpPr>
        <p:spPr>
          <a:xfrm>
            <a:off x="9073917" y="1153348"/>
            <a:ext cx="2499892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50" b="1" dirty="0">
                <a:solidFill>
                  <a:srgbClr val="2F3F49"/>
                </a:solidFill>
                <a:latin typeface="Verdana"/>
              </a:rPr>
              <a:t>Основная продукция </a:t>
            </a:r>
            <a:r>
              <a:rPr lang="ru-RU" sz="1050" dirty="0">
                <a:solidFill>
                  <a:srgbClr val="2F3F49"/>
                </a:solidFill>
                <a:latin typeface="Verdana"/>
              </a:rPr>
              <a:t>- выпуск золота в слитках, серебра в гранулах и слитках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AD4D3A-5F47-533B-B227-B3D6EAAB638C}"/>
              </a:ext>
            </a:extLst>
          </p:cNvPr>
          <p:cNvSpPr txBox="1"/>
          <p:nvPr/>
        </p:nvSpPr>
        <p:spPr>
          <a:xfrm>
            <a:off x="9034438" y="2060390"/>
            <a:ext cx="2632030" cy="76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50" b="1" dirty="0">
                <a:solidFill>
                  <a:srgbClr val="2F3F49"/>
                </a:solidFill>
                <a:latin typeface="Verdana"/>
              </a:rPr>
              <a:t>Попутная продукция </a:t>
            </a:r>
            <a:r>
              <a:rPr lang="ru-RU" sz="1050" dirty="0">
                <a:solidFill>
                  <a:srgbClr val="2F3F49"/>
                </a:solidFill>
                <a:latin typeface="Verdana"/>
              </a:rPr>
              <a:t>-  выпуск </a:t>
            </a:r>
            <a:r>
              <a:rPr lang="ru-RU" sz="1050" dirty="0" err="1">
                <a:solidFill>
                  <a:srgbClr val="2F3F49"/>
                </a:solidFill>
                <a:latin typeface="Verdana"/>
              </a:rPr>
              <a:t>теллурида</a:t>
            </a:r>
            <a:r>
              <a:rPr lang="ru-RU" sz="1050" dirty="0">
                <a:solidFill>
                  <a:srgbClr val="2F3F49"/>
                </a:solidFill>
                <a:latin typeface="Verdana"/>
              </a:rPr>
              <a:t> меди, чернового селена и </a:t>
            </a:r>
            <a:r>
              <a:rPr lang="ru-RU" sz="1200" dirty="0" err="1">
                <a:solidFill>
                  <a:srgbClr val="2F3F49"/>
                </a:solidFill>
                <a:latin typeface="Verdana"/>
              </a:rPr>
              <a:t>платино</a:t>
            </a:r>
            <a:r>
              <a:rPr lang="ru-RU" sz="1200" dirty="0">
                <a:solidFill>
                  <a:srgbClr val="2F3F49"/>
                </a:solidFill>
                <a:latin typeface="Verdana"/>
              </a:rPr>
              <a:t>-палладиевого</a:t>
            </a:r>
            <a:r>
              <a:rPr lang="ru-RU" sz="1050" dirty="0">
                <a:solidFill>
                  <a:srgbClr val="2F3F49"/>
                </a:solidFill>
                <a:latin typeface="Verdana"/>
              </a:rPr>
              <a:t> концентрата</a:t>
            </a:r>
          </a:p>
        </p:txBody>
      </p:sp>
      <p:cxnSp>
        <p:nvCxnSpPr>
          <p:cNvPr id="13" name="Соединитель: уступ 12">
            <a:extLst>
              <a:ext uri="{FF2B5EF4-FFF2-40B4-BE49-F238E27FC236}">
                <a16:creationId xmlns:a16="http://schemas.microsoft.com/office/drawing/2014/main" id="{47B2281E-D2C5-23D1-4EA9-BD4465CF4AD7}"/>
              </a:ext>
            </a:extLst>
          </p:cNvPr>
          <p:cNvCxnSpPr>
            <a:cxnSpLocks/>
          </p:cNvCxnSpPr>
          <p:nvPr/>
        </p:nvCxnSpPr>
        <p:spPr>
          <a:xfrm flipV="1">
            <a:off x="6818965" y="672859"/>
            <a:ext cx="4430945" cy="907042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D3E49"/>
            </a:solidFill>
            <a:prstDash val="solid"/>
            <a:miter lim="800000"/>
          </a:ln>
          <a:effectLst/>
        </p:spPr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AE28846B-CF93-F96F-6B5E-473F35309935}"/>
              </a:ext>
            </a:extLst>
          </p:cNvPr>
          <p:cNvSpPr txBox="1"/>
          <p:nvPr/>
        </p:nvSpPr>
        <p:spPr>
          <a:xfrm>
            <a:off x="9073917" y="3476603"/>
            <a:ext cx="249989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50" b="1" dirty="0">
                <a:solidFill>
                  <a:srgbClr val="2F3F49"/>
                </a:solidFill>
                <a:latin typeface="Verdana"/>
              </a:rPr>
              <a:t>Основная </a:t>
            </a:r>
            <a:r>
              <a:rPr lang="ru-RU" sz="1200" b="1" dirty="0">
                <a:solidFill>
                  <a:srgbClr val="2F3F49"/>
                </a:solidFill>
                <a:latin typeface="Verdana"/>
              </a:rPr>
              <a:t>продукция</a:t>
            </a:r>
            <a:r>
              <a:rPr lang="ru-RU" sz="1050" b="1" dirty="0">
                <a:solidFill>
                  <a:srgbClr val="2F3F49"/>
                </a:solidFill>
                <a:latin typeface="Verdana"/>
              </a:rPr>
              <a:t> </a:t>
            </a:r>
            <a:r>
              <a:rPr lang="ru-RU" sz="1050" dirty="0">
                <a:solidFill>
                  <a:srgbClr val="2F3F49"/>
                </a:solidFill>
                <a:latin typeface="Verdana"/>
              </a:rPr>
              <a:t>- от добычи руды до конечной продукции- катодной меди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DFC0E74-117E-FFBE-F6B7-9B71B59BD775}"/>
              </a:ext>
            </a:extLst>
          </p:cNvPr>
          <p:cNvSpPr txBox="1"/>
          <p:nvPr/>
        </p:nvSpPr>
        <p:spPr>
          <a:xfrm>
            <a:off x="9073917" y="4384458"/>
            <a:ext cx="26947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b="1" dirty="0">
                <a:solidFill>
                  <a:srgbClr val="2F3F49"/>
                </a:solidFill>
                <a:latin typeface="Verdana"/>
              </a:rPr>
              <a:t>Попутная продукция </a:t>
            </a:r>
            <a:r>
              <a:rPr lang="ru-RU" sz="1200" dirty="0">
                <a:solidFill>
                  <a:srgbClr val="2F3F49"/>
                </a:solidFill>
                <a:latin typeface="Verdana"/>
              </a:rPr>
              <a:t>-  выпуск </a:t>
            </a:r>
            <a:r>
              <a:rPr lang="ru-RU" sz="1200" dirty="0" err="1">
                <a:solidFill>
                  <a:srgbClr val="2F3F49"/>
                </a:solidFill>
                <a:latin typeface="Verdana"/>
              </a:rPr>
              <a:t>эмальпровода</a:t>
            </a:r>
            <a:r>
              <a:rPr lang="ru-RU" sz="1200" dirty="0">
                <a:solidFill>
                  <a:srgbClr val="2F3F49"/>
                </a:solidFill>
                <a:latin typeface="Verdana"/>
              </a:rPr>
              <a:t> </a:t>
            </a:r>
          </a:p>
        </p:txBody>
      </p:sp>
      <p:cxnSp>
        <p:nvCxnSpPr>
          <p:cNvPr id="18" name="Соединитель: уступ 17">
            <a:extLst>
              <a:ext uri="{FF2B5EF4-FFF2-40B4-BE49-F238E27FC236}">
                <a16:creationId xmlns:a16="http://schemas.microsoft.com/office/drawing/2014/main" id="{7C4BE14E-D616-662A-00B3-E910188868F0}"/>
              </a:ext>
            </a:extLst>
          </p:cNvPr>
          <p:cNvCxnSpPr>
            <a:cxnSpLocks/>
          </p:cNvCxnSpPr>
          <p:nvPr/>
        </p:nvCxnSpPr>
        <p:spPr>
          <a:xfrm flipV="1">
            <a:off x="6188529" y="3360416"/>
            <a:ext cx="5415772" cy="83253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D3E49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0209075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CB8294A-FC0D-4FE0-AA90-88A3434BAE57}"/>
              </a:ext>
            </a:extLst>
          </p:cNvPr>
          <p:cNvSpPr txBox="1"/>
          <p:nvPr/>
        </p:nvSpPr>
        <p:spPr>
          <a:xfrm>
            <a:off x="640676" y="1383691"/>
            <a:ext cx="2688036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ТОО «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Жанашыр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Проджект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»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177BB88-1ECB-4E94-8295-804D5C8FC79F}"/>
              </a:ext>
            </a:extLst>
          </p:cNvPr>
          <p:cNvSpPr txBox="1"/>
          <p:nvPr/>
        </p:nvSpPr>
        <p:spPr>
          <a:xfrm>
            <a:off x="4583299" y="941101"/>
            <a:ext cx="2930133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>
                <a:solidFill>
                  <a:srgbClr val="ED2D4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F3F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маркшейдерско- 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F3F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геомеханический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F3F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отдел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F3F49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" name="object 2">
            <a:extLst>
              <a:ext uri="{FF2B5EF4-FFF2-40B4-BE49-F238E27FC236}">
                <a16:creationId xmlns:a16="http://schemas.microsoft.com/office/drawing/2014/main" id="{DA942382-8621-44CD-8795-EC47D51D9655}"/>
              </a:ext>
            </a:extLst>
          </p:cNvPr>
          <p:cNvSpPr txBox="1"/>
          <p:nvPr/>
        </p:nvSpPr>
        <p:spPr>
          <a:xfrm>
            <a:off x="271655" y="167912"/>
            <a:ext cx="12339572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-5" normalizeH="0" baseline="0" noProof="0" dirty="0">
                <a:ln>
                  <a:noFill/>
                </a:ln>
                <a:solidFill>
                  <a:srgbClr val="007AAB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Пилотная апробация функционала мобильного приложения  </a:t>
            </a:r>
          </a:p>
        </p:txBody>
      </p:sp>
      <p:sp>
        <p:nvSpPr>
          <p:cNvPr id="53" name="object 4">
            <a:extLst>
              <a:ext uri="{FF2B5EF4-FFF2-40B4-BE49-F238E27FC236}">
                <a16:creationId xmlns:a16="http://schemas.microsoft.com/office/drawing/2014/main" id="{B59BD9A4-E94E-4D60-B5DD-9CD8AC5E98F2}"/>
              </a:ext>
            </a:extLst>
          </p:cNvPr>
          <p:cNvSpPr/>
          <p:nvPr/>
        </p:nvSpPr>
        <p:spPr>
          <a:xfrm flipV="1">
            <a:off x="296211" y="223071"/>
            <a:ext cx="11367086" cy="341989"/>
          </a:xfrm>
          <a:custGeom>
            <a:avLst/>
            <a:gdLst/>
            <a:ahLst/>
            <a:cxnLst/>
            <a:rect l="l" t="t" r="r" b="b"/>
            <a:pathLst>
              <a:path w="7179945">
                <a:moveTo>
                  <a:pt x="0" y="0"/>
                </a:moveTo>
                <a:lnTo>
                  <a:pt x="7179424" y="0"/>
                </a:lnTo>
              </a:path>
            </a:pathLst>
          </a:custGeom>
          <a:ln w="8890">
            <a:solidFill>
              <a:srgbClr val="2D3E49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713272" y="5200510"/>
            <a:ext cx="2577976" cy="584775"/>
          </a:xfrm>
          <a:prstGeom prst="rect">
            <a:avLst/>
          </a:prstGeom>
          <a:ln w="19050"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Общее количество  рабочих мест - 218</a:t>
            </a:r>
          </a:p>
        </p:txBody>
      </p:sp>
      <p:sp>
        <p:nvSpPr>
          <p:cNvPr id="39" name="Правая фигурная скобка 38"/>
          <p:cNvSpPr/>
          <p:nvPr/>
        </p:nvSpPr>
        <p:spPr>
          <a:xfrm flipH="1">
            <a:off x="4216556" y="1014939"/>
            <a:ext cx="413499" cy="5372712"/>
          </a:xfrm>
          <a:prstGeom prst="rightBrace">
            <a:avLst>
              <a:gd name="adj1" fmla="val 10065"/>
              <a:gd name="adj2" fmla="val 50634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711264" y="5802876"/>
            <a:ext cx="2579984" cy="584775"/>
          </a:xfrm>
          <a:prstGeom prst="rect">
            <a:avLst/>
          </a:prstGeom>
          <a:ln w="19050"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Пилотом охвачено 5 рабочих мест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02992" y="559065"/>
            <a:ext cx="371356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Calibri" panose="020F0502020204030204" pitchFamily="34" charset="0"/>
                <a:cs typeface="Times New Roman" panose="02020603050405020304" pitchFamily="18" charset="0"/>
              </a:rPr>
              <a:t>Казахстан, 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Жамбылская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область Шуйский район,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месторождение 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Жайсан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6" name="Рисунок 45" descr="Маркер">
            <a:extLst>
              <a:ext uri="{FF2B5EF4-FFF2-40B4-BE49-F238E27FC236}">
                <a16:creationId xmlns:a16="http://schemas.microsoft.com/office/drawing/2014/main" id="{2F5A841A-BC78-4B1E-A0C2-56C2C925113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6236" y="589869"/>
            <a:ext cx="565423" cy="565423"/>
          </a:xfrm>
          <a:prstGeom prst="rect">
            <a:avLst/>
          </a:prstGeom>
        </p:spPr>
      </p:pic>
      <p:sp>
        <p:nvSpPr>
          <p:cNvPr id="27" name="object 5">
            <a:extLst>
              <a:ext uri="{FF2B5EF4-FFF2-40B4-BE49-F238E27FC236}">
                <a16:creationId xmlns:a16="http://schemas.microsoft.com/office/drawing/2014/main" id="{D21F123F-1D8F-4A3B-9593-517FE8E5B366}"/>
              </a:ext>
            </a:extLst>
          </p:cNvPr>
          <p:cNvSpPr/>
          <p:nvPr/>
        </p:nvSpPr>
        <p:spPr>
          <a:xfrm>
            <a:off x="5636838" y="6468352"/>
            <a:ext cx="6087778" cy="45719"/>
          </a:xfrm>
          <a:custGeom>
            <a:avLst/>
            <a:gdLst/>
            <a:ahLst/>
            <a:cxnLst/>
            <a:rect l="l" t="t" r="r" b="b"/>
            <a:pathLst>
              <a:path w="6007100">
                <a:moveTo>
                  <a:pt x="0" y="0"/>
                </a:moveTo>
                <a:lnTo>
                  <a:pt x="6007100" y="0"/>
                </a:lnTo>
              </a:path>
            </a:pathLst>
          </a:cu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177BB88-1ECB-4E94-8295-804D5C8FC79F}"/>
              </a:ext>
            </a:extLst>
          </p:cNvPr>
          <p:cNvSpPr txBox="1"/>
          <p:nvPr/>
        </p:nvSpPr>
        <p:spPr>
          <a:xfrm>
            <a:off x="4684286" y="2030022"/>
            <a:ext cx="289611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>
                <a:solidFill>
                  <a:srgbClr val="ED2D4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F3F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горный участок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DE4C789-51CE-412B-9296-DC59C6F0CDD8}"/>
              </a:ext>
            </a:extLst>
          </p:cNvPr>
          <p:cNvSpPr txBox="1"/>
          <p:nvPr/>
        </p:nvSpPr>
        <p:spPr>
          <a:xfrm>
            <a:off x="7880175" y="2991825"/>
            <a:ext cx="368156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2F3F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Взрывник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2F3F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– рабочий, осуществляющий взрывные работы в шахте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DE4C789-51CE-412B-9296-DC59C6F0CDD8}"/>
              </a:ext>
            </a:extLst>
          </p:cNvPr>
          <p:cNvSpPr txBox="1"/>
          <p:nvPr/>
        </p:nvSpPr>
        <p:spPr>
          <a:xfrm>
            <a:off x="7911884" y="3760833"/>
            <a:ext cx="36498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2F3F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Бурильщик шпуров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2F3F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–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рабочий,  который управляет самоходными буровыми установками в процессе </a:t>
            </a: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забуривания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и бурения шпуров, передвижения и установки их в забое.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2F3F49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DE4C789-51CE-412B-9296-DC59C6F0CDD8}"/>
              </a:ext>
            </a:extLst>
          </p:cNvPr>
          <p:cNvSpPr txBox="1"/>
          <p:nvPr/>
        </p:nvSpPr>
        <p:spPr>
          <a:xfrm>
            <a:off x="7864676" y="2043092"/>
            <a:ext cx="363506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2F3F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Проходчик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2F3F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– рабочий, который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возводит все виды крепи в выработках; устанавливает опалубки и арматуры, зачищает выработки от просыпанной горной породы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2F3F49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880174" y="936713"/>
            <a:ext cx="351882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5F636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аркшейдер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D51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— это специалист, осуществляющий планирование и контроль всех этапов строительства подземных сооружений и разработки горных пород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026" name="Picture 2" descr="https://agmpnews.kz/wp-content/uploads/2023/06/kazahmys-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654" y="2043092"/>
            <a:ext cx="3713849" cy="2300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FCB8294A-FC0D-4FE0-AA90-88A3434BAE57}"/>
              </a:ext>
            </a:extLst>
          </p:cNvPr>
          <p:cNvSpPr txBox="1"/>
          <p:nvPr/>
        </p:nvSpPr>
        <p:spPr>
          <a:xfrm>
            <a:off x="224698" y="4479892"/>
            <a:ext cx="3760805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B4DCFA">
                    <a:lumMod val="2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Отработка запасов руды подземным способом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B4DCFA">
                  <a:lumMod val="2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911886" y="4933368"/>
            <a:ext cx="3649849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040C28"/>
                </a:solidFill>
                <a:effectLst/>
                <a:uLnTx/>
                <a:uFillTx/>
                <a:latin typeface="Google Sans"/>
                <a:ea typeface="+mn-ea"/>
                <a:cs typeface="+mn-cs"/>
              </a:rPr>
              <a:t>Машинист насосных установок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4D5156"/>
                </a:solidFill>
                <a:effectLst/>
                <a:uLnTx/>
                <a:uFillTx/>
                <a:latin typeface="Google Sans"/>
                <a:ea typeface="+mn-ea"/>
                <a:cs typeface="+mn-cs"/>
              </a:rPr>
              <a:t> - рабочий, который обеспечивает бесперебойную работу насосного оборудования, трубопроводов, запорной и регулирующей арматуры, фильтров для очистки и систем автоматического регулирования.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AutoShape 2" descr="blob:https://web.whatsapp.com/83442abb-c3dd-4911-ac1b-1e90efa3c189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AutoShape 4" descr="blob:https://web.whatsapp.com/83442abb-c3dd-4911-ac1b-1e90efa3c189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299" y="2613164"/>
            <a:ext cx="3275043" cy="2607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53951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787140" y="5637276"/>
            <a:ext cx="3905151" cy="704088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327172" y="5250181"/>
            <a:ext cx="1250574" cy="1135380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671007" y="5241037"/>
            <a:ext cx="1301626" cy="1135380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98704" y="1487425"/>
            <a:ext cx="998157" cy="964691"/>
          </a:xfrm>
          <a:prstGeom prst="rect">
            <a:avLst/>
          </a:prstGeom>
        </p:spPr>
      </p:pic>
      <p:grpSp>
        <p:nvGrpSpPr>
          <p:cNvPr id="15" name="object 15"/>
          <p:cNvGrpSpPr/>
          <p:nvPr/>
        </p:nvGrpSpPr>
        <p:grpSpPr>
          <a:xfrm>
            <a:off x="3680459" y="1163942"/>
            <a:ext cx="4493260" cy="5316234"/>
            <a:chOff x="3680459" y="1471789"/>
            <a:chExt cx="4493260" cy="5316234"/>
          </a:xfrm>
        </p:grpSpPr>
        <p:pic>
          <p:nvPicPr>
            <p:cNvPr id="16" name="object 1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681983" y="5311139"/>
              <a:ext cx="3905151" cy="568452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968495" y="4341875"/>
              <a:ext cx="3617723" cy="787907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991355" y="3467099"/>
              <a:ext cx="3667470" cy="830580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035551" y="2653283"/>
              <a:ext cx="3670234" cy="772668"/>
            </a:xfrm>
            <a:prstGeom prst="rect">
              <a:avLst/>
            </a:prstGeom>
          </p:spPr>
        </p:pic>
        <p:sp>
          <p:nvSpPr>
            <p:cNvPr id="20" name="object 20"/>
            <p:cNvSpPr/>
            <p:nvPr/>
          </p:nvSpPr>
          <p:spPr>
            <a:xfrm>
              <a:off x="3680459" y="1700403"/>
              <a:ext cx="4493260" cy="5087620"/>
            </a:xfrm>
            <a:custGeom>
              <a:avLst/>
              <a:gdLst/>
              <a:ahLst/>
              <a:cxnLst/>
              <a:rect l="l" t="t" r="r" b="b"/>
              <a:pathLst>
                <a:path w="4493259" h="5085715">
                  <a:moveTo>
                    <a:pt x="0" y="5085588"/>
                  </a:moveTo>
                  <a:lnTo>
                    <a:pt x="4492751" y="5085588"/>
                  </a:lnTo>
                  <a:lnTo>
                    <a:pt x="4492751" y="0"/>
                  </a:lnTo>
                  <a:lnTo>
                    <a:pt x="0" y="0"/>
                  </a:lnTo>
                  <a:lnTo>
                    <a:pt x="0" y="5085588"/>
                  </a:lnTo>
                  <a:close/>
                </a:path>
              </a:pathLst>
            </a:custGeom>
            <a:ln w="3240">
              <a:solidFill>
                <a:srgbClr val="295E7D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1" name="object 21"/>
            <p:cNvSpPr/>
            <p:nvPr/>
          </p:nvSpPr>
          <p:spPr>
            <a:xfrm>
              <a:off x="3774798" y="1471789"/>
              <a:ext cx="4338596" cy="306705"/>
            </a:xfrm>
            <a:custGeom>
              <a:avLst/>
              <a:gdLst/>
              <a:ahLst/>
              <a:cxnLst/>
              <a:rect l="l" t="t" r="r" b="b"/>
              <a:pathLst>
                <a:path w="1757679" h="306705">
                  <a:moveTo>
                    <a:pt x="1757172" y="0"/>
                  </a:moveTo>
                  <a:lnTo>
                    <a:pt x="0" y="0"/>
                  </a:lnTo>
                  <a:lnTo>
                    <a:pt x="0" y="306324"/>
                  </a:lnTo>
                  <a:lnTo>
                    <a:pt x="1757172" y="306324"/>
                  </a:lnTo>
                  <a:lnTo>
                    <a:pt x="17571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22" name="object 22"/>
          <p:cNvGrpSpPr/>
          <p:nvPr/>
        </p:nvGrpSpPr>
        <p:grpSpPr>
          <a:xfrm>
            <a:off x="8456802" y="1473505"/>
            <a:ext cx="3515686" cy="3488434"/>
            <a:chOff x="8432292" y="1783080"/>
            <a:chExt cx="2626765" cy="3488434"/>
          </a:xfrm>
        </p:grpSpPr>
        <p:pic>
          <p:nvPicPr>
            <p:cNvPr id="23" name="object 2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432292" y="4288535"/>
              <a:ext cx="2069224" cy="982979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432292" y="1783080"/>
              <a:ext cx="2626765" cy="858520"/>
            </a:xfrm>
            <a:prstGeom prst="rect">
              <a:avLst/>
            </a:prstGeom>
          </p:spPr>
        </p:pic>
      </p:grpSp>
      <p:sp>
        <p:nvSpPr>
          <p:cNvPr id="39" name="object 39"/>
          <p:cNvSpPr/>
          <p:nvPr/>
        </p:nvSpPr>
        <p:spPr>
          <a:xfrm>
            <a:off x="0" y="0"/>
            <a:ext cx="12192000" cy="1006537"/>
          </a:xfrm>
          <a:custGeom>
            <a:avLst/>
            <a:gdLst/>
            <a:ahLst/>
            <a:cxnLst/>
            <a:rect l="l" t="t" r="r" b="b"/>
            <a:pathLst>
              <a:path w="12192000" h="1286510">
                <a:moveTo>
                  <a:pt x="12192000" y="0"/>
                </a:moveTo>
                <a:lnTo>
                  <a:pt x="0" y="0"/>
                </a:lnTo>
                <a:lnTo>
                  <a:pt x="0" y="1286255"/>
                </a:lnTo>
                <a:lnTo>
                  <a:pt x="12192000" y="1286255"/>
                </a:lnTo>
                <a:lnTo>
                  <a:pt x="12192000" y="0"/>
                </a:lnTo>
                <a:close/>
              </a:path>
            </a:pathLst>
          </a:custGeom>
          <a:solidFill>
            <a:srgbClr val="5F78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359765" y="173228"/>
            <a:ext cx="810450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ru-RU" sz="2800" spc="-95" dirty="0">
                <a:solidFill>
                  <a:srgbClr val="FFFFFF"/>
                </a:solidFill>
                <a:latin typeface="Segoe UI Semibold"/>
                <a:cs typeface="Segoe UI Semibold"/>
              </a:rPr>
              <a:t>ОЖИДАЕМЫЕ РЕЗУЛЬТАТЫ В ЦИФРАХ</a:t>
            </a:r>
            <a:endParaRPr lang="ru-RU" sz="2800" dirty="0">
              <a:latin typeface="Segoe UI Semibold"/>
              <a:cs typeface="Segoe UI Semibold"/>
            </a:endParaRPr>
          </a:p>
        </p:txBody>
      </p:sp>
      <p:grpSp>
        <p:nvGrpSpPr>
          <p:cNvPr id="43" name="object 43"/>
          <p:cNvGrpSpPr/>
          <p:nvPr/>
        </p:nvGrpSpPr>
        <p:grpSpPr>
          <a:xfrm>
            <a:off x="8316468" y="1143000"/>
            <a:ext cx="3758565" cy="2773934"/>
            <a:chOff x="8316468" y="1450847"/>
            <a:chExt cx="3758565" cy="2773934"/>
          </a:xfrm>
        </p:grpSpPr>
        <p:sp>
          <p:nvSpPr>
            <p:cNvPr id="44" name="object 44"/>
            <p:cNvSpPr/>
            <p:nvPr/>
          </p:nvSpPr>
          <p:spPr>
            <a:xfrm>
              <a:off x="8316468" y="1703831"/>
              <a:ext cx="3758565" cy="2520950"/>
            </a:xfrm>
            <a:custGeom>
              <a:avLst/>
              <a:gdLst/>
              <a:ahLst/>
              <a:cxnLst/>
              <a:rect l="l" t="t" r="r" b="b"/>
              <a:pathLst>
                <a:path w="3758565" h="2520950">
                  <a:moveTo>
                    <a:pt x="0" y="2520696"/>
                  </a:moveTo>
                  <a:lnTo>
                    <a:pt x="3758183" y="2520696"/>
                  </a:lnTo>
                  <a:lnTo>
                    <a:pt x="3758183" y="0"/>
                  </a:lnTo>
                  <a:lnTo>
                    <a:pt x="0" y="0"/>
                  </a:lnTo>
                  <a:lnTo>
                    <a:pt x="0" y="2520696"/>
                  </a:lnTo>
                  <a:close/>
                </a:path>
              </a:pathLst>
            </a:custGeom>
            <a:ln w="3240">
              <a:solidFill>
                <a:srgbClr val="295E7D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8415528" y="1450847"/>
              <a:ext cx="2649220" cy="306705"/>
            </a:xfrm>
            <a:custGeom>
              <a:avLst/>
              <a:gdLst/>
              <a:ahLst/>
              <a:cxnLst/>
              <a:rect l="l" t="t" r="r" b="b"/>
              <a:pathLst>
                <a:path w="2649220" h="306705">
                  <a:moveTo>
                    <a:pt x="2648712" y="0"/>
                  </a:moveTo>
                  <a:lnTo>
                    <a:pt x="0" y="0"/>
                  </a:lnTo>
                  <a:lnTo>
                    <a:pt x="0" y="306324"/>
                  </a:lnTo>
                  <a:lnTo>
                    <a:pt x="2648712" y="306324"/>
                  </a:lnTo>
                  <a:lnTo>
                    <a:pt x="264871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7" name="object 47"/>
          <p:cNvSpPr txBox="1"/>
          <p:nvPr/>
        </p:nvSpPr>
        <p:spPr>
          <a:xfrm>
            <a:off x="508413" y="1133742"/>
            <a:ext cx="2931922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295E7D"/>
                </a:solidFill>
                <a:latin typeface="Trebuchet MS"/>
                <a:cs typeface="Trebuchet MS"/>
              </a:rPr>
              <a:t>ТЕКУЩАЯ</a:t>
            </a:r>
            <a:r>
              <a:rPr sz="1400" b="1" spc="-85" dirty="0">
                <a:solidFill>
                  <a:srgbClr val="295E7D"/>
                </a:solidFill>
                <a:latin typeface="Trebuchet MS"/>
                <a:cs typeface="Trebuchet MS"/>
              </a:rPr>
              <a:t> </a:t>
            </a:r>
            <a:r>
              <a:rPr sz="1400" b="1" dirty="0">
                <a:solidFill>
                  <a:srgbClr val="295E7D"/>
                </a:solidFill>
                <a:latin typeface="Trebuchet MS"/>
                <a:cs typeface="Trebuchet MS"/>
              </a:rPr>
              <a:t>СИТУАЦИЯ</a:t>
            </a:r>
            <a:r>
              <a:rPr lang="ru-RU" sz="1400" b="1" dirty="0">
                <a:solidFill>
                  <a:srgbClr val="295E7D"/>
                </a:solidFill>
                <a:latin typeface="Trebuchet MS"/>
                <a:cs typeface="Trebuchet MS"/>
              </a:rPr>
              <a:t> </a:t>
            </a:r>
            <a:r>
              <a:rPr lang="ru-RU" sz="1200" dirty="0">
                <a:solidFill>
                  <a:srgbClr val="295E7D"/>
                </a:solidFill>
                <a:latin typeface="Trebuchet MS"/>
                <a:cs typeface="Trebuchet MS"/>
              </a:rPr>
              <a:t> </a:t>
            </a:r>
            <a:endParaRPr sz="1200" dirty="0">
              <a:latin typeface="Trebuchet MS"/>
              <a:cs typeface="Trebuchet MS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3860196" y="1163830"/>
            <a:ext cx="427253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kk-KZ" sz="1400" b="1" dirty="0">
                <a:solidFill>
                  <a:srgbClr val="295E7D"/>
                </a:solidFill>
                <a:latin typeface="Trebuchet MS"/>
                <a:cs typeface="Trebuchet MS"/>
              </a:rPr>
              <a:t>МЕХАНИЗМ ОБЕСПЕЧЕНИЯ БЕЗОПАСНОГО ТРУДА</a:t>
            </a:r>
            <a:endParaRPr lang="kk-KZ" sz="1400" dirty="0">
              <a:latin typeface="Trebuchet MS"/>
              <a:cs typeface="Trebuchet MS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8493632" y="1165098"/>
            <a:ext cx="246761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295E7D"/>
                </a:solidFill>
                <a:latin typeface="Trebuchet MS"/>
                <a:cs typeface="Trebuchet MS"/>
              </a:rPr>
              <a:t>РЕЗУЛЬТАТЫ</a:t>
            </a:r>
            <a:r>
              <a:rPr sz="1400" b="1" spc="-60" dirty="0">
                <a:solidFill>
                  <a:srgbClr val="295E7D"/>
                </a:solidFill>
                <a:latin typeface="Trebuchet MS"/>
                <a:cs typeface="Trebuchet MS"/>
              </a:rPr>
              <a:t> </a:t>
            </a:r>
            <a:r>
              <a:rPr lang="kk-KZ" sz="1400" b="1" dirty="0">
                <a:solidFill>
                  <a:srgbClr val="295E7D"/>
                </a:solidFill>
                <a:latin typeface="Trebuchet MS"/>
                <a:cs typeface="Trebuchet MS"/>
              </a:rPr>
              <a:t>к</a:t>
            </a:r>
            <a:r>
              <a:rPr sz="1400" b="1" spc="-25" dirty="0">
                <a:solidFill>
                  <a:srgbClr val="295E7D"/>
                </a:solidFill>
                <a:latin typeface="Trebuchet MS"/>
                <a:cs typeface="Trebuchet MS"/>
              </a:rPr>
              <a:t> </a:t>
            </a:r>
            <a:r>
              <a:rPr sz="1400" b="1" dirty="0">
                <a:solidFill>
                  <a:srgbClr val="295E7D"/>
                </a:solidFill>
                <a:latin typeface="Trebuchet MS"/>
                <a:cs typeface="Trebuchet MS"/>
              </a:rPr>
              <a:t>2030</a:t>
            </a:r>
            <a:r>
              <a:rPr sz="1400" b="1" spc="-30" dirty="0">
                <a:solidFill>
                  <a:srgbClr val="295E7D"/>
                </a:solidFill>
                <a:latin typeface="Trebuchet MS"/>
                <a:cs typeface="Trebuchet MS"/>
              </a:rPr>
              <a:t> </a:t>
            </a:r>
            <a:r>
              <a:rPr sz="1400" b="1" dirty="0">
                <a:solidFill>
                  <a:srgbClr val="295E7D"/>
                </a:solidFill>
                <a:latin typeface="Trebuchet MS"/>
                <a:cs typeface="Trebuchet MS"/>
              </a:rPr>
              <a:t>ГОД</a:t>
            </a:r>
            <a:r>
              <a:rPr lang="kk-KZ" sz="1400" b="1" dirty="0">
                <a:solidFill>
                  <a:srgbClr val="295E7D"/>
                </a:solidFill>
                <a:latin typeface="Trebuchet MS"/>
                <a:cs typeface="Trebuchet MS"/>
              </a:rPr>
              <a:t>У </a:t>
            </a:r>
            <a:endParaRPr sz="1400" dirty="0">
              <a:latin typeface="Trebuchet MS"/>
              <a:cs typeface="Trebuchet MS"/>
            </a:endParaRPr>
          </a:p>
        </p:txBody>
      </p:sp>
      <p:grpSp>
        <p:nvGrpSpPr>
          <p:cNvPr id="50" name="object 50"/>
          <p:cNvGrpSpPr/>
          <p:nvPr/>
        </p:nvGrpSpPr>
        <p:grpSpPr>
          <a:xfrm>
            <a:off x="8314848" y="3953161"/>
            <a:ext cx="3761740" cy="2524125"/>
            <a:chOff x="8314848" y="4261008"/>
            <a:chExt cx="3761740" cy="2524125"/>
          </a:xfrm>
        </p:grpSpPr>
        <p:sp>
          <p:nvSpPr>
            <p:cNvPr id="51" name="object 51"/>
            <p:cNvSpPr/>
            <p:nvPr/>
          </p:nvSpPr>
          <p:spPr>
            <a:xfrm>
              <a:off x="8316468" y="4262628"/>
              <a:ext cx="3758565" cy="2520950"/>
            </a:xfrm>
            <a:custGeom>
              <a:avLst/>
              <a:gdLst/>
              <a:ahLst/>
              <a:cxnLst/>
              <a:rect l="l" t="t" r="r" b="b"/>
              <a:pathLst>
                <a:path w="3758565" h="2520950">
                  <a:moveTo>
                    <a:pt x="0" y="2520696"/>
                  </a:moveTo>
                  <a:lnTo>
                    <a:pt x="3758183" y="2520696"/>
                  </a:lnTo>
                  <a:lnTo>
                    <a:pt x="3758183" y="0"/>
                  </a:lnTo>
                  <a:lnTo>
                    <a:pt x="0" y="0"/>
                  </a:lnTo>
                  <a:lnTo>
                    <a:pt x="0" y="2520696"/>
                  </a:lnTo>
                  <a:close/>
                </a:path>
              </a:pathLst>
            </a:custGeom>
            <a:ln w="3240">
              <a:solidFill>
                <a:srgbClr val="295E7D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8976360" y="5306568"/>
              <a:ext cx="2334895" cy="127000"/>
            </a:xfrm>
            <a:custGeom>
              <a:avLst/>
              <a:gdLst/>
              <a:ahLst/>
              <a:cxnLst/>
              <a:rect l="l" t="t" r="r" b="b"/>
              <a:pathLst>
                <a:path w="2334895" h="127000">
                  <a:moveTo>
                    <a:pt x="658368" y="18288"/>
                  </a:moveTo>
                  <a:lnTo>
                    <a:pt x="0" y="18288"/>
                  </a:lnTo>
                  <a:lnTo>
                    <a:pt x="329184" y="126492"/>
                  </a:lnTo>
                  <a:lnTo>
                    <a:pt x="658368" y="18288"/>
                  </a:lnTo>
                  <a:close/>
                </a:path>
                <a:path w="2334895" h="127000">
                  <a:moveTo>
                    <a:pt x="2334768" y="0"/>
                  </a:moveTo>
                  <a:lnTo>
                    <a:pt x="1676400" y="0"/>
                  </a:lnTo>
                  <a:lnTo>
                    <a:pt x="2005584" y="108204"/>
                  </a:lnTo>
                  <a:lnTo>
                    <a:pt x="2334768" y="0"/>
                  </a:lnTo>
                  <a:close/>
                </a:path>
              </a:pathLst>
            </a:custGeom>
            <a:solidFill>
              <a:srgbClr val="45566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3" name="object 53"/>
          <p:cNvSpPr txBox="1"/>
          <p:nvPr/>
        </p:nvSpPr>
        <p:spPr>
          <a:xfrm>
            <a:off x="1461548" y="1577077"/>
            <a:ext cx="1643462" cy="875881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 marR="5080" algn="ctr">
              <a:lnSpc>
                <a:spcPct val="99600"/>
              </a:lnSpc>
              <a:spcBef>
                <a:spcPts val="110"/>
              </a:spcBef>
            </a:pPr>
            <a:r>
              <a:rPr lang="ru-RU" sz="1400" spc="5" dirty="0">
                <a:latin typeface="Tahoma"/>
                <a:cs typeface="Tahoma"/>
              </a:rPr>
              <a:t>р</a:t>
            </a:r>
            <a:r>
              <a:rPr sz="1400" spc="5" dirty="0" err="1">
                <a:latin typeface="Tahoma"/>
                <a:cs typeface="Tahoma"/>
              </a:rPr>
              <a:t>або</a:t>
            </a:r>
            <a:r>
              <a:rPr lang="ru-RU" sz="1400" spc="5" dirty="0" err="1">
                <a:latin typeface="Tahoma"/>
                <a:cs typeface="Tahoma"/>
              </a:rPr>
              <a:t>тников</a:t>
            </a:r>
            <a:r>
              <a:rPr lang="ru-RU" sz="1400" spc="5" dirty="0">
                <a:latin typeface="Tahoma"/>
                <a:cs typeface="Tahoma"/>
              </a:rPr>
              <a:t> заняты во вредных и опасных условиях труда</a:t>
            </a:r>
            <a:endParaRPr sz="1400" spc="5" dirty="0">
              <a:latin typeface="Tahoma"/>
              <a:cs typeface="Tahoma"/>
            </a:endParaRPr>
          </a:p>
        </p:txBody>
      </p:sp>
      <p:grpSp>
        <p:nvGrpSpPr>
          <p:cNvPr id="55" name="object 55"/>
          <p:cNvGrpSpPr/>
          <p:nvPr/>
        </p:nvGrpSpPr>
        <p:grpSpPr>
          <a:xfrm>
            <a:off x="3723132" y="1368553"/>
            <a:ext cx="3919917" cy="5087620"/>
            <a:chOff x="3723132" y="1676400"/>
            <a:chExt cx="3919917" cy="5087620"/>
          </a:xfrm>
        </p:grpSpPr>
        <p:pic>
          <p:nvPicPr>
            <p:cNvPr id="56" name="object 56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3822192" y="1802892"/>
              <a:ext cx="3820857" cy="807720"/>
            </a:xfrm>
            <a:prstGeom prst="rect">
              <a:avLst/>
            </a:prstGeom>
          </p:spPr>
        </p:pic>
        <p:sp>
          <p:nvSpPr>
            <p:cNvPr id="57" name="object 57"/>
            <p:cNvSpPr/>
            <p:nvPr/>
          </p:nvSpPr>
          <p:spPr>
            <a:xfrm>
              <a:off x="3723132" y="1676400"/>
              <a:ext cx="626745" cy="5087620"/>
            </a:xfrm>
            <a:custGeom>
              <a:avLst/>
              <a:gdLst/>
              <a:ahLst/>
              <a:cxnLst/>
              <a:rect l="l" t="t" r="r" b="b"/>
              <a:pathLst>
                <a:path w="626745" h="5087620">
                  <a:moveTo>
                    <a:pt x="0" y="0"/>
                  </a:moveTo>
                  <a:lnTo>
                    <a:pt x="0" y="5087110"/>
                  </a:lnTo>
                  <a:lnTo>
                    <a:pt x="125856" y="4850130"/>
                  </a:lnTo>
                  <a:lnTo>
                    <a:pt x="145846" y="4807919"/>
                  </a:lnTo>
                  <a:lnTo>
                    <a:pt x="165476" y="4765345"/>
                  </a:lnTo>
                  <a:lnTo>
                    <a:pt x="184742" y="4722413"/>
                  </a:lnTo>
                  <a:lnTo>
                    <a:pt x="203642" y="4679126"/>
                  </a:lnTo>
                  <a:lnTo>
                    <a:pt x="222173" y="4635489"/>
                  </a:lnTo>
                  <a:lnTo>
                    <a:pt x="240332" y="4591506"/>
                  </a:lnTo>
                  <a:lnTo>
                    <a:pt x="258115" y="4547182"/>
                  </a:lnTo>
                  <a:lnTo>
                    <a:pt x="275519" y="4502521"/>
                  </a:lnTo>
                  <a:lnTo>
                    <a:pt x="292542" y="4457526"/>
                  </a:lnTo>
                  <a:lnTo>
                    <a:pt x="309181" y="4412203"/>
                  </a:lnTo>
                  <a:lnTo>
                    <a:pt x="325431" y="4366555"/>
                  </a:lnTo>
                  <a:lnTo>
                    <a:pt x="341291" y="4320588"/>
                  </a:lnTo>
                  <a:lnTo>
                    <a:pt x="356757" y="4274305"/>
                  </a:lnTo>
                  <a:lnTo>
                    <a:pt x="371826" y="4227710"/>
                  </a:lnTo>
                  <a:lnTo>
                    <a:pt x="386496" y="4180808"/>
                  </a:lnTo>
                  <a:lnTo>
                    <a:pt x="400762" y="4133603"/>
                  </a:lnTo>
                  <a:lnTo>
                    <a:pt x="414622" y="4086100"/>
                  </a:lnTo>
                  <a:lnTo>
                    <a:pt x="428073" y="4038303"/>
                  </a:lnTo>
                  <a:lnTo>
                    <a:pt x="441111" y="3990216"/>
                  </a:lnTo>
                  <a:lnTo>
                    <a:pt x="453734" y="3941843"/>
                  </a:lnTo>
                  <a:lnTo>
                    <a:pt x="465939" y="3893189"/>
                  </a:lnTo>
                  <a:lnTo>
                    <a:pt x="477723" y="3844258"/>
                  </a:lnTo>
                  <a:lnTo>
                    <a:pt x="489082" y="3795054"/>
                  </a:lnTo>
                  <a:lnTo>
                    <a:pt x="500013" y="3745582"/>
                  </a:lnTo>
                  <a:lnTo>
                    <a:pt x="510514" y="3695846"/>
                  </a:lnTo>
                  <a:lnTo>
                    <a:pt x="520581" y="3645850"/>
                  </a:lnTo>
                  <a:lnTo>
                    <a:pt x="530211" y="3595599"/>
                  </a:lnTo>
                  <a:lnTo>
                    <a:pt x="539401" y="3545097"/>
                  </a:lnTo>
                  <a:lnTo>
                    <a:pt x="548148" y="3494347"/>
                  </a:lnTo>
                  <a:lnTo>
                    <a:pt x="556450" y="3443355"/>
                  </a:lnTo>
                  <a:lnTo>
                    <a:pt x="564302" y="3392125"/>
                  </a:lnTo>
                  <a:lnTo>
                    <a:pt x="571702" y="3340661"/>
                  </a:lnTo>
                  <a:lnTo>
                    <a:pt x="578647" y="3288967"/>
                  </a:lnTo>
                  <a:lnTo>
                    <a:pt x="585134" y="3237048"/>
                  </a:lnTo>
                  <a:lnTo>
                    <a:pt x="591160" y="3184908"/>
                  </a:lnTo>
                  <a:lnTo>
                    <a:pt x="596720" y="3132552"/>
                  </a:lnTo>
                  <a:lnTo>
                    <a:pt x="601814" y="3079983"/>
                  </a:lnTo>
                  <a:lnTo>
                    <a:pt x="606437" y="3027205"/>
                  </a:lnTo>
                  <a:lnTo>
                    <a:pt x="610586" y="2974224"/>
                  </a:lnTo>
                  <a:lnTo>
                    <a:pt x="614259" y="2921044"/>
                  </a:lnTo>
                  <a:lnTo>
                    <a:pt x="617452" y="2867668"/>
                  </a:lnTo>
                  <a:lnTo>
                    <a:pt x="620162" y="2814101"/>
                  </a:lnTo>
                  <a:lnTo>
                    <a:pt x="622386" y="2760348"/>
                  </a:lnTo>
                  <a:lnTo>
                    <a:pt x="624122" y="2706413"/>
                  </a:lnTo>
                  <a:lnTo>
                    <a:pt x="625365" y="2652299"/>
                  </a:lnTo>
                  <a:lnTo>
                    <a:pt x="626113" y="2598012"/>
                  </a:lnTo>
                  <a:lnTo>
                    <a:pt x="626363" y="2543556"/>
                  </a:lnTo>
                  <a:lnTo>
                    <a:pt x="626113" y="2489099"/>
                  </a:lnTo>
                  <a:lnTo>
                    <a:pt x="625365" y="2434812"/>
                  </a:lnTo>
                  <a:lnTo>
                    <a:pt x="624122" y="2380698"/>
                  </a:lnTo>
                  <a:lnTo>
                    <a:pt x="622386" y="2326762"/>
                  </a:lnTo>
                  <a:lnTo>
                    <a:pt x="620162" y="2273008"/>
                  </a:lnTo>
                  <a:lnTo>
                    <a:pt x="617452" y="2219440"/>
                  </a:lnTo>
                  <a:lnTo>
                    <a:pt x="614259" y="2166064"/>
                  </a:lnTo>
                  <a:lnTo>
                    <a:pt x="610586" y="2112882"/>
                  </a:lnTo>
                  <a:lnTo>
                    <a:pt x="606437" y="2059900"/>
                  </a:lnTo>
                  <a:lnTo>
                    <a:pt x="601814" y="2007122"/>
                  </a:lnTo>
                  <a:lnTo>
                    <a:pt x="596720" y="1954551"/>
                  </a:lnTo>
                  <a:lnTo>
                    <a:pt x="591160" y="1902193"/>
                  </a:lnTo>
                  <a:lnTo>
                    <a:pt x="585134" y="1850052"/>
                  </a:lnTo>
                  <a:lnTo>
                    <a:pt x="578647" y="1798132"/>
                  </a:lnTo>
                  <a:lnTo>
                    <a:pt x="571702" y="1746437"/>
                  </a:lnTo>
                  <a:lnTo>
                    <a:pt x="564302" y="1694971"/>
                  </a:lnTo>
                  <a:lnTo>
                    <a:pt x="556450" y="1643740"/>
                  </a:lnTo>
                  <a:lnTo>
                    <a:pt x="548148" y="1592747"/>
                  </a:lnTo>
                  <a:lnTo>
                    <a:pt x="539401" y="1541996"/>
                  </a:lnTo>
                  <a:lnTo>
                    <a:pt x="530211" y="1491492"/>
                  </a:lnTo>
                  <a:lnTo>
                    <a:pt x="520581" y="1441240"/>
                  </a:lnTo>
                  <a:lnTo>
                    <a:pt x="510514" y="1391243"/>
                  </a:lnTo>
                  <a:lnTo>
                    <a:pt x="500013" y="1341505"/>
                  </a:lnTo>
                  <a:lnTo>
                    <a:pt x="489082" y="1292032"/>
                  </a:lnTo>
                  <a:lnTo>
                    <a:pt x="477723" y="1242828"/>
                  </a:lnTo>
                  <a:lnTo>
                    <a:pt x="465939" y="1193896"/>
                  </a:lnTo>
                  <a:lnTo>
                    <a:pt x="453734" y="1145241"/>
                  </a:lnTo>
                  <a:lnTo>
                    <a:pt x="441111" y="1096868"/>
                  </a:lnTo>
                  <a:lnTo>
                    <a:pt x="428073" y="1048780"/>
                  </a:lnTo>
                  <a:lnTo>
                    <a:pt x="414622" y="1000983"/>
                  </a:lnTo>
                  <a:lnTo>
                    <a:pt x="400762" y="953479"/>
                  </a:lnTo>
                  <a:lnTo>
                    <a:pt x="386496" y="906275"/>
                  </a:lnTo>
                  <a:lnTo>
                    <a:pt x="371826" y="859373"/>
                  </a:lnTo>
                  <a:lnTo>
                    <a:pt x="356757" y="812779"/>
                  </a:lnTo>
                  <a:lnTo>
                    <a:pt x="341291" y="766496"/>
                  </a:lnTo>
                  <a:lnTo>
                    <a:pt x="325431" y="720530"/>
                  </a:lnTo>
                  <a:lnTo>
                    <a:pt x="309181" y="674883"/>
                  </a:lnTo>
                  <a:lnTo>
                    <a:pt x="292542" y="629561"/>
                  </a:lnTo>
                  <a:lnTo>
                    <a:pt x="275519" y="584568"/>
                  </a:lnTo>
                  <a:lnTo>
                    <a:pt x="258115" y="539908"/>
                  </a:lnTo>
                  <a:lnTo>
                    <a:pt x="240332" y="495586"/>
                  </a:lnTo>
                  <a:lnTo>
                    <a:pt x="222173" y="451606"/>
                  </a:lnTo>
                  <a:lnTo>
                    <a:pt x="203642" y="407971"/>
                  </a:lnTo>
                  <a:lnTo>
                    <a:pt x="184742" y="364687"/>
                  </a:lnTo>
                  <a:lnTo>
                    <a:pt x="165476" y="321758"/>
                  </a:lnTo>
                  <a:lnTo>
                    <a:pt x="145846" y="279188"/>
                  </a:lnTo>
                  <a:lnTo>
                    <a:pt x="125856" y="2369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DCB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8" name="object 58"/>
            <p:cNvSpPr/>
            <p:nvPr/>
          </p:nvSpPr>
          <p:spPr>
            <a:xfrm>
              <a:off x="3723132" y="1676400"/>
              <a:ext cx="626745" cy="5040000"/>
            </a:xfrm>
            <a:custGeom>
              <a:avLst/>
              <a:gdLst/>
              <a:ahLst/>
              <a:cxnLst/>
              <a:rect l="l" t="t" r="r" b="b"/>
              <a:pathLst>
                <a:path w="626745" h="5087620">
                  <a:moveTo>
                    <a:pt x="0" y="0"/>
                  </a:moveTo>
                  <a:lnTo>
                    <a:pt x="125856" y="236982"/>
                  </a:lnTo>
                  <a:lnTo>
                    <a:pt x="145846" y="279188"/>
                  </a:lnTo>
                  <a:lnTo>
                    <a:pt x="165476" y="321758"/>
                  </a:lnTo>
                  <a:lnTo>
                    <a:pt x="184742" y="364687"/>
                  </a:lnTo>
                  <a:lnTo>
                    <a:pt x="203642" y="407971"/>
                  </a:lnTo>
                  <a:lnTo>
                    <a:pt x="222173" y="451606"/>
                  </a:lnTo>
                  <a:lnTo>
                    <a:pt x="240332" y="495586"/>
                  </a:lnTo>
                  <a:lnTo>
                    <a:pt x="258115" y="539908"/>
                  </a:lnTo>
                  <a:lnTo>
                    <a:pt x="275519" y="584568"/>
                  </a:lnTo>
                  <a:lnTo>
                    <a:pt x="292542" y="629561"/>
                  </a:lnTo>
                  <a:lnTo>
                    <a:pt x="309181" y="674883"/>
                  </a:lnTo>
                  <a:lnTo>
                    <a:pt x="325431" y="720530"/>
                  </a:lnTo>
                  <a:lnTo>
                    <a:pt x="341291" y="766496"/>
                  </a:lnTo>
                  <a:lnTo>
                    <a:pt x="356757" y="812779"/>
                  </a:lnTo>
                  <a:lnTo>
                    <a:pt x="371826" y="859373"/>
                  </a:lnTo>
                  <a:lnTo>
                    <a:pt x="386496" y="906275"/>
                  </a:lnTo>
                  <a:lnTo>
                    <a:pt x="400762" y="953479"/>
                  </a:lnTo>
                  <a:lnTo>
                    <a:pt x="414622" y="1000983"/>
                  </a:lnTo>
                  <a:lnTo>
                    <a:pt x="428073" y="1048780"/>
                  </a:lnTo>
                  <a:lnTo>
                    <a:pt x="441111" y="1096868"/>
                  </a:lnTo>
                  <a:lnTo>
                    <a:pt x="453734" y="1145241"/>
                  </a:lnTo>
                  <a:lnTo>
                    <a:pt x="465939" y="1193896"/>
                  </a:lnTo>
                  <a:lnTo>
                    <a:pt x="477723" y="1242828"/>
                  </a:lnTo>
                  <a:lnTo>
                    <a:pt x="489082" y="1292032"/>
                  </a:lnTo>
                  <a:lnTo>
                    <a:pt x="500013" y="1341505"/>
                  </a:lnTo>
                  <a:lnTo>
                    <a:pt x="510514" y="1391243"/>
                  </a:lnTo>
                  <a:lnTo>
                    <a:pt x="520581" y="1441240"/>
                  </a:lnTo>
                  <a:lnTo>
                    <a:pt x="530211" y="1491492"/>
                  </a:lnTo>
                  <a:lnTo>
                    <a:pt x="539401" y="1541996"/>
                  </a:lnTo>
                  <a:lnTo>
                    <a:pt x="548148" y="1592747"/>
                  </a:lnTo>
                  <a:lnTo>
                    <a:pt x="556450" y="1643740"/>
                  </a:lnTo>
                  <a:lnTo>
                    <a:pt x="564302" y="1694971"/>
                  </a:lnTo>
                  <a:lnTo>
                    <a:pt x="571702" y="1746437"/>
                  </a:lnTo>
                  <a:lnTo>
                    <a:pt x="578647" y="1798132"/>
                  </a:lnTo>
                  <a:lnTo>
                    <a:pt x="585134" y="1850052"/>
                  </a:lnTo>
                  <a:lnTo>
                    <a:pt x="591160" y="1902193"/>
                  </a:lnTo>
                  <a:lnTo>
                    <a:pt x="596720" y="1954551"/>
                  </a:lnTo>
                  <a:lnTo>
                    <a:pt x="601814" y="2007122"/>
                  </a:lnTo>
                  <a:lnTo>
                    <a:pt x="606437" y="2059900"/>
                  </a:lnTo>
                  <a:lnTo>
                    <a:pt x="610586" y="2112882"/>
                  </a:lnTo>
                  <a:lnTo>
                    <a:pt x="614259" y="2166064"/>
                  </a:lnTo>
                  <a:lnTo>
                    <a:pt x="617452" y="2219440"/>
                  </a:lnTo>
                  <a:lnTo>
                    <a:pt x="620162" y="2273008"/>
                  </a:lnTo>
                  <a:lnTo>
                    <a:pt x="622386" y="2326762"/>
                  </a:lnTo>
                  <a:lnTo>
                    <a:pt x="624122" y="2380698"/>
                  </a:lnTo>
                  <a:lnTo>
                    <a:pt x="625365" y="2434812"/>
                  </a:lnTo>
                  <a:lnTo>
                    <a:pt x="626113" y="2489099"/>
                  </a:lnTo>
                  <a:lnTo>
                    <a:pt x="626363" y="2543556"/>
                  </a:lnTo>
                  <a:lnTo>
                    <a:pt x="626113" y="2598012"/>
                  </a:lnTo>
                  <a:lnTo>
                    <a:pt x="625365" y="2652299"/>
                  </a:lnTo>
                  <a:lnTo>
                    <a:pt x="624122" y="2706413"/>
                  </a:lnTo>
                  <a:lnTo>
                    <a:pt x="622386" y="2760348"/>
                  </a:lnTo>
                  <a:lnTo>
                    <a:pt x="620162" y="2814101"/>
                  </a:lnTo>
                  <a:lnTo>
                    <a:pt x="617452" y="2867668"/>
                  </a:lnTo>
                  <a:lnTo>
                    <a:pt x="614259" y="2921044"/>
                  </a:lnTo>
                  <a:lnTo>
                    <a:pt x="610586" y="2974224"/>
                  </a:lnTo>
                  <a:lnTo>
                    <a:pt x="606437" y="3027205"/>
                  </a:lnTo>
                  <a:lnTo>
                    <a:pt x="601814" y="3079983"/>
                  </a:lnTo>
                  <a:lnTo>
                    <a:pt x="596720" y="3132552"/>
                  </a:lnTo>
                  <a:lnTo>
                    <a:pt x="591160" y="3184908"/>
                  </a:lnTo>
                  <a:lnTo>
                    <a:pt x="585134" y="3237048"/>
                  </a:lnTo>
                  <a:lnTo>
                    <a:pt x="578647" y="3288967"/>
                  </a:lnTo>
                  <a:lnTo>
                    <a:pt x="571702" y="3340661"/>
                  </a:lnTo>
                  <a:lnTo>
                    <a:pt x="564302" y="3392125"/>
                  </a:lnTo>
                  <a:lnTo>
                    <a:pt x="556450" y="3443355"/>
                  </a:lnTo>
                  <a:lnTo>
                    <a:pt x="548148" y="3494347"/>
                  </a:lnTo>
                  <a:lnTo>
                    <a:pt x="539401" y="3545097"/>
                  </a:lnTo>
                  <a:lnTo>
                    <a:pt x="530211" y="3595599"/>
                  </a:lnTo>
                  <a:lnTo>
                    <a:pt x="520581" y="3645850"/>
                  </a:lnTo>
                  <a:lnTo>
                    <a:pt x="510514" y="3695846"/>
                  </a:lnTo>
                  <a:lnTo>
                    <a:pt x="500013" y="3745582"/>
                  </a:lnTo>
                  <a:lnTo>
                    <a:pt x="489082" y="3795054"/>
                  </a:lnTo>
                  <a:lnTo>
                    <a:pt x="477723" y="3844258"/>
                  </a:lnTo>
                  <a:lnTo>
                    <a:pt x="465939" y="3893189"/>
                  </a:lnTo>
                  <a:lnTo>
                    <a:pt x="453734" y="3941843"/>
                  </a:lnTo>
                  <a:lnTo>
                    <a:pt x="441111" y="3990216"/>
                  </a:lnTo>
                  <a:lnTo>
                    <a:pt x="428073" y="4038303"/>
                  </a:lnTo>
                  <a:lnTo>
                    <a:pt x="414622" y="4086100"/>
                  </a:lnTo>
                  <a:lnTo>
                    <a:pt x="400762" y="4133603"/>
                  </a:lnTo>
                  <a:lnTo>
                    <a:pt x="386496" y="4180808"/>
                  </a:lnTo>
                  <a:lnTo>
                    <a:pt x="371826" y="4227710"/>
                  </a:lnTo>
                  <a:lnTo>
                    <a:pt x="356757" y="4274305"/>
                  </a:lnTo>
                  <a:lnTo>
                    <a:pt x="341291" y="4320588"/>
                  </a:lnTo>
                  <a:lnTo>
                    <a:pt x="325431" y="4366555"/>
                  </a:lnTo>
                  <a:lnTo>
                    <a:pt x="309181" y="4412203"/>
                  </a:lnTo>
                  <a:lnTo>
                    <a:pt x="292542" y="4457526"/>
                  </a:lnTo>
                  <a:lnTo>
                    <a:pt x="275519" y="4502521"/>
                  </a:lnTo>
                  <a:lnTo>
                    <a:pt x="258115" y="4547182"/>
                  </a:lnTo>
                  <a:lnTo>
                    <a:pt x="240332" y="4591506"/>
                  </a:lnTo>
                  <a:lnTo>
                    <a:pt x="222173" y="4635489"/>
                  </a:lnTo>
                  <a:lnTo>
                    <a:pt x="203642" y="4679126"/>
                  </a:lnTo>
                  <a:lnTo>
                    <a:pt x="184742" y="4722413"/>
                  </a:lnTo>
                  <a:lnTo>
                    <a:pt x="165476" y="4765345"/>
                  </a:lnTo>
                  <a:lnTo>
                    <a:pt x="145846" y="4807919"/>
                  </a:lnTo>
                  <a:lnTo>
                    <a:pt x="125856" y="4850130"/>
                  </a:lnTo>
                  <a:lnTo>
                    <a:pt x="0" y="5087110"/>
                  </a:lnTo>
                  <a:lnTo>
                    <a:pt x="0" y="0"/>
                  </a:lnTo>
                  <a:close/>
                </a:path>
              </a:pathLst>
            </a:custGeom>
            <a:ln w="571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9" name="object 5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3898773" y="2056256"/>
              <a:ext cx="233934" cy="235457"/>
            </a:xfrm>
            <a:prstGeom prst="rect">
              <a:avLst/>
            </a:prstGeom>
          </p:spPr>
        </p:pic>
      </p:grpSp>
      <p:sp>
        <p:nvSpPr>
          <p:cNvPr id="60" name="object 60"/>
          <p:cNvSpPr txBox="1"/>
          <p:nvPr/>
        </p:nvSpPr>
        <p:spPr>
          <a:xfrm>
            <a:off x="3958209" y="1757299"/>
            <a:ext cx="1149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Trebuchet MS"/>
                <a:cs typeface="Trebuchet MS"/>
              </a:rPr>
              <a:t>1</a:t>
            </a:r>
            <a:endParaRPr sz="1200">
              <a:latin typeface="Trebuchet MS"/>
              <a:cs typeface="Trebuchet MS"/>
            </a:endParaRPr>
          </a:p>
        </p:txBody>
      </p:sp>
      <p:pic>
        <p:nvPicPr>
          <p:cNvPr id="61" name="object 61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4131945" y="2624710"/>
            <a:ext cx="233933" cy="235457"/>
          </a:xfrm>
          <a:prstGeom prst="rect">
            <a:avLst/>
          </a:prstGeom>
        </p:spPr>
      </p:pic>
      <p:sp>
        <p:nvSpPr>
          <p:cNvPr id="62" name="object 62"/>
          <p:cNvSpPr txBox="1"/>
          <p:nvPr/>
        </p:nvSpPr>
        <p:spPr>
          <a:xfrm>
            <a:off x="4191380" y="2633854"/>
            <a:ext cx="1149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Trebuchet MS"/>
                <a:cs typeface="Trebuchet MS"/>
              </a:rPr>
              <a:t>2</a:t>
            </a:r>
            <a:endParaRPr sz="1200">
              <a:latin typeface="Trebuchet MS"/>
              <a:cs typeface="Trebuchet MS"/>
            </a:endParaRPr>
          </a:p>
        </p:txBody>
      </p:sp>
      <p:pic>
        <p:nvPicPr>
          <p:cNvPr id="63" name="object 63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4189857" y="3456813"/>
            <a:ext cx="235457" cy="235457"/>
          </a:xfrm>
          <a:prstGeom prst="rect">
            <a:avLst/>
          </a:prstGeom>
        </p:spPr>
      </p:pic>
      <p:sp>
        <p:nvSpPr>
          <p:cNvPr id="64" name="object 64"/>
          <p:cNvSpPr txBox="1"/>
          <p:nvPr/>
        </p:nvSpPr>
        <p:spPr>
          <a:xfrm>
            <a:off x="4250182" y="3465704"/>
            <a:ext cx="1149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Trebuchet MS"/>
                <a:cs typeface="Trebuchet MS"/>
              </a:rPr>
              <a:t>3</a:t>
            </a:r>
            <a:endParaRPr sz="1200">
              <a:latin typeface="Trebuchet MS"/>
              <a:cs typeface="Trebuchet MS"/>
            </a:endParaRPr>
          </a:p>
        </p:txBody>
      </p:sp>
      <p:pic>
        <p:nvPicPr>
          <p:cNvPr id="65" name="object 65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4151757" y="4334637"/>
            <a:ext cx="235457" cy="235457"/>
          </a:xfrm>
          <a:prstGeom prst="rect">
            <a:avLst/>
          </a:prstGeom>
        </p:spPr>
      </p:pic>
      <p:sp>
        <p:nvSpPr>
          <p:cNvPr id="66" name="object 66"/>
          <p:cNvSpPr txBox="1"/>
          <p:nvPr/>
        </p:nvSpPr>
        <p:spPr>
          <a:xfrm>
            <a:off x="4212082" y="4343782"/>
            <a:ext cx="1149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Trebuchet MS"/>
                <a:cs typeface="Trebuchet MS"/>
              </a:rPr>
              <a:t>4</a:t>
            </a:r>
            <a:endParaRPr sz="1200">
              <a:latin typeface="Trebuchet MS"/>
              <a:cs typeface="Trebuchet MS"/>
            </a:endParaRPr>
          </a:p>
        </p:txBody>
      </p:sp>
      <p:pic>
        <p:nvPicPr>
          <p:cNvPr id="67" name="object 67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3996309" y="5075301"/>
            <a:ext cx="235457" cy="235457"/>
          </a:xfrm>
          <a:prstGeom prst="rect">
            <a:avLst/>
          </a:prstGeom>
        </p:spPr>
      </p:pic>
      <p:sp>
        <p:nvSpPr>
          <p:cNvPr id="68" name="object 68"/>
          <p:cNvSpPr txBox="1"/>
          <p:nvPr/>
        </p:nvSpPr>
        <p:spPr>
          <a:xfrm>
            <a:off x="4056634" y="5084445"/>
            <a:ext cx="1149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Trebuchet MS"/>
                <a:cs typeface="Trebuchet MS"/>
              </a:rPr>
              <a:t>5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171569" y="1574640"/>
            <a:ext cx="3784600" cy="720069"/>
          </a:xfrm>
          <a:prstGeom prst="rect">
            <a:avLst/>
          </a:prstGeom>
        </p:spPr>
        <p:txBody>
          <a:bodyPr vert="horz" wrap="square" lIns="0" tIns="73025" rIns="0" bIns="0" rtlCol="0">
            <a:spAutoFit/>
          </a:bodyPr>
          <a:lstStyle/>
          <a:p>
            <a:pPr marL="76200" marR="5080">
              <a:lnSpc>
                <a:spcPct val="100000"/>
              </a:lnSpc>
              <a:spcBef>
                <a:spcPts val="395"/>
              </a:spcBef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фференциация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чего места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степени профессионального риска и уровню защиты</a:t>
            </a:r>
            <a:endParaRPr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4469123" y="2437389"/>
            <a:ext cx="3671570" cy="511679"/>
          </a:xfrm>
          <a:prstGeom prst="rect">
            <a:avLst/>
          </a:prstGeom>
        </p:spPr>
        <p:txBody>
          <a:bodyPr vert="horz" wrap="square" lIns="0" tIns="8001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бор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З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о степени профессионального риска</a:t>
            </a:r>
          </a:p>
        </p:txBody>
      </p:sp>
      <p:sp>
        <p:nvSpPr>
          <p:cNvPr id="71" name="object 71"/>
          <p:cNvSpPr txBox="1"/>
          <p:nvPr/>
        </p:nvSpPr>
        <p:spPr>
          <a:xfrm>
            <a:off x="4483966" y="3214099"/>
            <a:ext cx="3747642" cy="696986"/>
          </a:xfrm>
          <a:prstGeom prst="rect">
            <a:avLst/>
          </a:prstGeom>
        </p:spPr>
        <p:txBody>
          <a:bodyPr vert="horz" wrap="square" lIns="0" tIns="50165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фференцированный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аховой тариф</a:t>
            </a:r>
          </a:p>
          <a:p>
            <a:pPr marL="12700">
              <a:lnSpc>
                <a:spcPct val="100000"/>
              </a:lnSpc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зависимости от степени профессионального риска</a:t>
            </a:r>
          </a:p>
        </p:txBody>
      </p:sp>
      <p:sp>
        <p:nvSpPr>
          <p:cNvPr id="72" name="object 72"/>
          <p:cNvSpPr txBox="1"/>
          <p:nvPr/>
        </p:nvSpPr>
        <p:spPr>
          <a:xfrm>
            <a:off x="4516741" y="4000107"/>
            <a:ext cx="3751579" cy="751487"/>
          </a:xfrm>
          <a:prstGeom prst="rect">
            <a:avLst/>
          </a:prstGeom>
        </p:spPr>
        <p:txBody>
          <a:bodyPr vert="horz" wrap="square" lIns="0" tIns="10413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9"/>
              </a:spcBef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фференциация видов и объемов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циальных гарантий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степени  профессионального риска</a:t>
            </a:r>
          </a:p>
        </p:txBody>
      </p:sp>
      <p:sp>
        <p:nvSpPr>
          <p:cNvPr id="73" name="object 73"/>
          <p:cNvSpPr txBox="1"/>
          <p:nvPr/>
        </p:nvSpPr>
        <p:spPr>
          <a:xfrm>
            <a:off x="360040" y="3673983"/>
            <a:ext cx="1102119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2400" b="1" spc="-35" dirty="0">
                <a:solidFill>
                  <a:srgbClr val="002060"/>
                </a:solidFill>
                <a:latin typeface="Arial"/>
                <a:cs typeface="Arial"/>
              </a:rPr>
              <a:t>14,8</a:t>
            </a:r>
            <a:r>
              <a:rPr sz="2400" b="1" spc="-35" dirty="0">
                <a:solidFill>
                  <a:srgbClr val="002060"/>
                </a:solidFill>
                <a:latin typeface="Arial"/>
                <a:cs typeface="Arial"/>
              </a:rPr>
              <a:t>%</a:t>
            </a:r>
            <a:endParaRPr sz="2400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pic>
        <p:nvPicPr>
          <p:cNvPr id="74" name="object 74"/>
          <p:cNvPicPr/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09808" y="4441627"/>
            <a:ext cx="990000" cy="720000"/>
          </a:xfrm>
          <a:prstGeom prst="rect">
            <a:avLst/>
          </a:prstGeom>
        </p:spPr>
      </p:pic>
      <p:sp>
        <p:nvSpPr>
          <p:cNvPr id="75" name="object 75"/>
          <p:cNvSpPr txBox="1"/>
          <p:nvPr/>
        </p:nvSpPr>
        <p:spPr>
          <a:xfrm>
            <a:off x="400923" y="4546127"/>
            <a:ext cx="1195706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2400" b="1" spc="-90" dirty="0">
                <a:solidFill>
                  <a:srgbClr val="002060"/>
                </a:solidFill>
                <a:latin typeface="Arial"/>
                <a:cs typeface="Arial"/>
              </a:rPr>
              <a:t>43,2 %</a:t>
            </a:r>
            <a:endParaRPr sz="2400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455676" y="2484120"/>
            <a:ext cx="658495" cy="108585"/>
          </a:xfrm>
          <a:custGeom>
            <a:avLst/>
            <a:gdLst/>
            <a:ahLst/>
            <a:cxnLst/>
            <a:rect l="l" t="t" r="r" b="b"/>
            <a:pathLst>
              <a:path w="658494" h="108585">
                <a:moveTo>
                  <a:pt x="658368" y="0"/>
                </a:moveTo>
                <a:lnTo>
                  <a:pt x="0" y="0"/>
                </a:lnTo>
                <a:lnTo>
                  <a:pt x="329183" y="108204"/>
                </a:lnTo>
                <a:lnTo>
                  <a:pt x="658368" y="0"/>
                </a:lnTo>
                <a:close/>
              </a:path>
            </a:pathLst>
          </a:custGeom>
          <a:solidFill>
            <a:srgbClr val="4C618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 txBox="1"/>
          <p:nvPr/>
        </p:nvSpPr>
        <p:spPr>
          <a:xfrm>
            <a:off x="1384139" y="2730767"/>
            <a:ext cx="1711322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ru-RU" sz="1400" spc="5" dirty="0">
                <a:latin typeface="Tahoma"/>
                <a:cs typeface="Tahoma"/>
              </a:rPr>
              <a:t>темп роста занятости во ВОУТ </a:t>
            </a:r>
            <a:endParaRPr sz="1400" dirty="0">
              <a:latin typeface="Tahoma"/>
              <a:cs typeface="Tahoma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1256763" y="4425143"/>
            <a:ext cx="2160821" cy="6719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ctr">
              <a:lnSpc>
                <a:spcPct val="100000"/>
              </a:lnSpc>
              <a:spcBef>
                <a:spcPts val="100"/>
              </a:spcBef>
            </a:pPr>
            <a:r>
              <a:rPr sz="1400" spc="5" dirty="0" err="1">
                <a:latin typeface="Tahoma"/>
                <a:cs typeface="Tahoma"/>
              </a:rPr>
              <a:t>среднегодовой</a:t>
            </a:r>
            <a:r>
              <a:rPr sz="1400" spc="5" dirty="0">
                <a:latin typeface="Tahoma"/>
                <a:cs typeface="Tahoma"/>
              </a:rPr>
              <a:t> </a:t>
            </a:r>
            <a:r>
              <a:rPr lang="ru-RU" sz="1400" spc="5" dirty="0">
                <a:latin typeface="Tahoma"/>
                <a:cs typeface="Tahoma"/>
              </a:rPr>
              <a:t>темп </a:t>
            </a:r>
            <a:r>
              <a:rPr sz="1400" spc="5" dirty="0" err="1">
                <a:latin typeface="Tahoma"/>
                <a:cs typeface="Tahoma"/>
              </a:rPr>
              <a:t>рост</a:t>
            </a:r>
            <a:r>
              <a:rPr lang="ru-RU" sz="1400" spc="5" dirty="0">
                <a:latin typeface="Tahoma"/>
                <a:cs typeface="Tahoma"/>
              </a:rPr>
              <a:t>а проф.</a:t>
            </a:r>
          </a:p>
          <a:p>
            <a:pPr marR="5080" algn="ctr">
              <a:lnSpc>
                <a:spcPct val="100000"/>
              </a:lnSpc>
              <a:spcBef>
                <a:spcPts val="100"/>
              </a:spcBef>
            </a:pPr>
            <a:r>
              <a:rPr lang="ru-RU" sz="1400" spc="5" dirty="0">
                <a:latin typeface="Tahoma"/>
                <a:cs typeface="Tahoma"/>
              </a:rPr>
              <a:t>заболеваемости</a:t>
            </a:r>
            <a:endParaRPr sz="1400" spc="5" dirty="0">
              <a:latin typeface="Tahoma"/>
              <a:cs typeface="Tahoma"/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4151011" y="5703688"/>
            <a:ext cx="3899522" cy="500778"/>
          </a:xfrm>
          <a:prstGeom prst="rect">
            <a:avLst/>
          </a:prstGeom>
        </p:spPr>
        <p:txBody>
          <a:bodyPr vert="horz" wrap="square" lIns="0" tIns="692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45"/>
              </a:spcBef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сударственный контроль и мониторинг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основе системы управления рисками</a:t>
            </a:r>
            <a:endParaRPr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82" name="object 82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3807333" y="5739766"/>
            <a:ext cx="235457" cy="235458"/>
          </a:xfrm>
          <a:prstGeom prst="rect">
            <a:avLst/>
          </a:prstGeom>
        </p:spPr>
      </p:pic>
      <p:sp>
        <p:nvSpPr>
          <p:cNvPr id="83" name="object 83"/>
          <p:cNvSpPr txBox="1"/>
          <p:nvPr/>
        </p:nvSpPr>
        <p:spPr>
          <a:xfrm>
            <a:off x="3867658" y="5749849"/>
            <a:ext cx="1149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Trebuchet MS"/>
                <a:cs typeface="Trebuchet MS"/>
              </a:rPr>
              <a:t>6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4352168" y="5047923"/>
            <a:ext cx="3483610" cy="483402"/>
          </a:xfrm>
          <a:prstGeom prst="rect">
            <a:avLst/>
          </a:prstGeom>
        </p:spPr>
        <p:txBody>
          <a:bodyPr vert="horz" wrap="square" lIns="0" tIns="24765" rIns="0" bIns="0" rtlCol="0">
            <a:spAutoFit/>
          </a:bodyPr>
          <a:lstStyle/>
          <a:p>
            <a:pPr marL="41275" marR="5080" indent="-28575">
              <a:lnSpc>
                <a:spcPct val="104500"/>
              </a:lnSpc>
              <a:spcBef>
                <a:spcPts val="195"/>
              </a:spcBef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витие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фессиональных</a:t>
            </a:r>
          </a:p>
          <a:p>
            <a:pPr marL="41275" marR="5080" indent="-28575">
              <a:lnSpc>
                <a:spcPct val="104500"/>
              </a:lnSpc>
              <a:spcBef>
                <a:spcPts val="195"/>
              </a:spcBef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петенций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сфере охраны труда</a:t>
            </a:r>
            <a:endParaRPr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04354" y="1532128"/>
            <a:ext cx="101444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1,1 тыс.</a:t>
            </a:r>
          </a:p>
        </p:txBody>
      </p:sp>
      <p:sp>
        <p:nvSpPr>
          <p:cNvPr id="54" name="object 73">
            <a:extLst>
              <a:ext uri="{FF2B5EF4-FFF2-40B4-BE49-F238E27FC236}">
                <a16:creationId xmlns:a16="http://schemas.microsoft.com/office/drawing/2014/main" id="{3DEBCC07-C77B-2A6E-B8D2-AE53EA17ABE4}"/>
              </a:ext>
            </a:extLst>
          </p:cNvPr>
          <p:cNvSpPr txBox="1"/>
          <p:nvPr/>
        </p:nvSpPr>
        <p:spPr>
          <a:xfrm>
            <a:off x="411065" y="2774061"/>
            <a:ext cx="865208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2400" b="1" spc="-35" dirty="0">
                <a:solidFill>
                  <a:srgbClr val="002060"/>
                </a:solidFill>
                <a:latin typeface="Arial"/>
                <a:cs typeface="Arial"/>
              </a:rPr>
              <a:t>5,7</a:t>
            </a:r>
            <a:r>
              <a:rPr sz="2400" b="1" spc="-35" dirty="0">
                <a:solidFill>
                  <a:srgbClr val="002060"/>
                </a:solidFill>
                <a:latin typeface="Arial"/>
                <a:cs typeface="Arial"/>
              </a:rPr>
              <a:t>%</a:t>
            </a:r>
            <a:endParaRPr sz="2400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1A430D00-9D5F-F5D1-C84D-E1E98D4F47D1}"/>
              </a:ext>
            </a:extLst>
          </p:cNvPr>
          <p:cNvSpPr txBox="1"/>
          <p:nvPr/>
        </p:nvSpPr>
        <p:spPr>
          <a:xfrm>
            <a:off x="1354327" y="3500652"/>
            <a:ext cx="190219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5080" algn="ctr">
              <a:lnSpc>
                <a:spcPct val="100000"/>
              </a:lnSpc>
              <a:spcBef>
                <a:spcPts val="100"/>
              </a:spcBef>
            </a:pPr>
            <a:r>
              <a:rPr lang="ru-RU" sz="1400" spc="5" dirty="0">
                <a:latin typeface="Tahoma"/>
                <a:cs typeface="Tahoma"/>
              </a:rPr>
              <a:t>рост численности пострадавших при несчастных случаях</a:t>
            </a:r>
          </a:p>
        </p:txBody>
      </p:sp>
      <p:pic>
        <p:nvPicPr>
          <p:cNvPr id="88" name="object 74">
            <a:extLst>
              <a:ext uri="{FF2B5EF4-FFF2-40B4-BE49-F238E27FC236}">
                <a16:creationId xmlns:a16="http://schemas.microsoft.com/office/drawing/2014/main" id="{DE5372EF-F2AF-6B17-9F33-E916EC320A18}"/>
              </a:ext>
            </a:extLst>
          </p:cNvPr>
          <p:cNvPicPr/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19024" y="5359531"/>
            <a:ext cx="990000" cy="720000"/>
          </a:xfrm>
          <a:prstGeom prst="rect">
            <a:avLst/>
          </a:prstGeom>
        </p:spPr>
      </p:pic>
      <p:sp>
        <p:nvSpPr>
          <p:cNvPr id="89" name="object 75">
            <a:extLst>
              <a:ext uri="{FF2B5EF4-FFF2-40B4-BE49-F238E27FC236}">
                <a16:creationId xmlns:a16="http://schemas.microsoft.com/office/drawing/2014/main" id="{354FD840-0B48-C445-8DF7-44744BD397F3}"/>
              </a:ext>
            </a:extLst>
          </p:cNvPr>
          <p:cNvSpPr txBox="1"/>
          <p:nvPr/>
        </p:nvSpPr>
        <p:spPr>
          <a:xfrm>
            <a:off x="410139" y="5464031"/>
            <a:ext cx="1195706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2400" b="1" spc="-90" dirty="0">
                <a:solidFill>
                  <a:srgbClr val="002060"/>
                </a:solidFill>
                <a:latin typeface="Arial"/>
                <a:cs typeface="Arial"/>
              </a:rPr>
              <a:t>47,0 %</a:t>
            </a:r>
            <a:endParaRPr sz="2400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1234219" y="5249513"/>
            <a:ext cx="215357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0000"/>
              </a:lnSpc>
            </a:pPr>
            <a:r>
              <a:rPr lang="kk-KZ" sz="1400" spc="5" dirty="0">
                <a:latin typeface="Tahoma"/>
                <a:cs typeface="Tahoma"/>
              </a:rPr>
              <a:t>рост затрат на предоставление социальных гарантий </a:t>
            </a:r>
          </a:p>
        </p:txBody>
      </p:sp>
      <p:sp>
        <p:nvSpPr>
          <p:cNvPr id="87" name="object 69"/>
          <p:cNvSpPr txBox="1"/>
          <p:nvPr/>
        </p:nvSpPr>
        <p:spPr>
          <a:xfrm>
            <a:off x="8538111" y="1486487"/>
            <a:ext cx="3385333" cy="812402"/>
          </a:xfrm>
          <a:prstGeom prst="rect">
            <a:avLst/>
          </a:prstGeom>
        </p:spPr>
        <p:txBody>
          <a:bodyPr vert="horz" wrap="square" lIns="0" tIns="73025" rIns="0" bIns="0" rtlCol="0">
            <a:spAutoFit/>
          </a:bodyPr>
          <a:lstStyle/>
          <a:p>
            <a:pPr marR="5080" algn="ctr">
              <a:lnSpc>
                <a:spcPct val="100000"/>
              </a:lnSpc>
              <a:spcBef>
                <a:spcPts val="395"/>
              </a:spcBef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ние безопасных условий труда и повышение качества рабочих мест</a:t>
            </a:r>
            <a:endParaRPr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0" name="object 69"/>
          <p:cNvSpPr txBox="1"/>
          <p:nvPr/>
        </p:nvSpPr>
        <p:spPr>
          <a:xfrm>
            <a:off x="8356981" y="4060949"/>
            <a:ext cx="3535298" cy="812402"/>
          </a:xfrm>
          <a:prstGeom prst="rect">
            <a:avLst/>
          </a:prstGeom>
        </p:spPr>
        <p:txBody>
          <a:bodyPr vert="horz" wrap="square" lIns="0" tIns="73025" rIns="0" bIns="0" rtlCol="0">
            <a:spAutoFit/>
          </a:bodyPr>
          <a:lstStyle/>
          <a:p>
            <a:pPr marL="76200" marR="5080" algn="ctr">
              <a:lnSpc>
                <a:spcPct val="100000"/>
              </a:lnSpc>
              <a:spcBef>
                <a:spcPts val="395"/>
              </a:spcBef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нижение производственного травматизма и профессиональной заболеваемости</a:t>
            </a:r>
            <a:endParaRPr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1" name="object 3"/>
          <p:cNvPicPr/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81643" y="2738551"/>
            <a:ext cx="1156150" cy="1135380"/>
          </a:xfrm>
          <a:prstGeom prst="rect">
            <a:avLst/>
          </a:prstGeom>
        </p:spPr>
      </p:pic>
      <p:pic>
        <p:nvPicPr>
          <p:cNvPr id="92" name="object 4"/>
          <p:cNvPicPr/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458200" y="2729585"/>
            <a:ext cx="1119625" cy="1112370"/>
          </a:xfrm>
          <a:prstGeom prst="rect">
            <a:avLst/>
          </a:prstGeom>
        </p:spPr>
      </p:pic>
      <p:sp>
        <p:nvSpPr>
          <p:cNvPr id="97" name="object 35"/>
          <p:cNvSpPr txBox="1"/>
          <p:nvPr/>
        </p:nvSpPr>
        <p:spPr>
          <a:xfrm>
            <a:off x="8506947" y="2791778"/>
            <a:ext cx="1031946" cy="85215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43815" algn="ctr">
              <a:lnSpc>
                <a:spcPct val="100000"/>
              </a:lnSpc>
              <a:spcBef>
                <a:spcPts val="105"/>
              </a:spcBef>
            </a:pPr>
            <a:r>
              <a:rPr lang="ru-RU" sz="1200" spc="25" dirty="0">
                <a:latin typeface="Tahoma"/>
                <a:cs typeface="Tahoma"/>
              </a:rPr>
              <a:t>охват ОПР </a:t>
            </a:r>
            <a:r>
              <a:rPr lang="ru-RU" sz="1200" spc="25" dirty="0" err="1">
                <a:latin typeface="Tahoma"/>
                <a:cs typeface="Tahoma"/>
              </a:rPr>
              <a:t>юр.лиц</a:t>
            </a:r>
            <a:endParaRPr sz="1200" dirty="0">
              <a:latin typeface="Tahoma"/>
              <a:cs typeface="Tahoma"/>
            </a:endParaRPr>
          </a:p>
          <a:p>
            <a:pPr marL="1905" algn="ctr">
              <a:lnSpc>
                <a:spcPct val="100000"/>
              </a:lnSpc>
              <a:spcBef>
                <a:spcPts val="320"/>
              </a:spcBef>
            </a:pPr>
            <a:r>
              <a:rPr lang="ru-RU" sz="2800" b="1" spc="5" dirty="0">
                <a:solidFill>
                  <a:srgbClr val="002060"/>
                </a:solidFill>
                <a:latin typeface="Arial"/>
                <a:cs typeface="Arial"/>
              </a:rPr>
              <a:t>8</a:t>
            </a:r>
            <a:r>
              <a:rPr sz="2800" b="1" spc="5" dirty="0">
                <a:solidFill>
                  <a:srgbClr val="002060"/>
                </a:solidFill>
                <a:latin typeface="Arial"/>
                <a:cs typeface="Arial"/>
              </a:rPr>
              <a:t>0%</a:t>
            </a:r>
            <a:endParaRPr sz="2800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98" name="object 35"/>
          <p:cNvSpPr txBox="1"/>
          <p:nvPr/>
        </p:nvSpPr>
        <p:spPr>
          <a:xfrm>
            <a:off x="9659374" y="2751559"/>
            <a:ext cx="1106868" cy="85215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43815" algn="ctr">
              <a:lnSpc>
                <a:spcPct val="100000"/>
              </a:lnSpc>
              <a:spcBef>
                <a:spcPts val="105"/>
              </a:spcBef>
            </a:pPr>
            <a:r>
              <a:rPr lang="ru-RU" sz="1200" spc="25" dirty="0">
                <a:latin typeface="Tahoma"/>
                <a:cs typeface="Tahoma"/>
              </a:rPr>
              <a:t>охват ОСНС </a:t>
            </a:r>
            <a:r>
              <a:rPr lang="ru-RU" sz="1200" spc="25" dirty="0" err="1">
                <a:latin typeface="Tahoma"/>
                <a:cs typeface="Tahoma"/>
              </a:rPr>
              <a:t>юр.лиц</a:t>
            </a:r>
            <a:endParaRPr sz="1200" dirty="0">
              <a:latin typeface="Tahoma"/>
              <a:cs typeface="Tahoma"/>
            </a:endParaRPr>
          </a:p>
          <a:p>
            <a:pPr marL="1905" algn="ctr">
              <a:lnSpc>
                <a:spcPct val="100000"/>
              </a:lnSpc>
              <a:spcBef>
                <a:spcPts val="320"/>
              </a:spcBef>
            </a:pPr>
            <a:r>
              <a:rPr lang="ru-RU" sz="2800" b="1" spc="5" dirty="0">
                <a:solidFill>
                  <a:srgbClr val="002060"/>
                </a:solidFill>
                <a:latin typeface="Arial"/>
                <a:cs typeface="Arial"/>
              </a:rPr>
              <a:t>9</a:t>
            </a:r>
            <a:r>
              <a:rPr sz="2800" b="1" spc="5" dirty="0">
                <a:solidFill>
                  <a:srgbClr val="002060"/>
                </a:solidFill>
                <a:latin typeface="Arial"/>
                <a:cs typeface="Arial"/>
              </a:rPr>
              <a:t>0%</a:t>
            </a:r>
            <a:endParaRPr sz="2800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pic>
        <p:nvPicPr>
          <p:cNvPr id="99" name="object 4"/>
          <p:cNvPicPr/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896600" y="2743200"/>
            <a:ext cx="1119625" cy="1112370"/>
          </a:xfrm>
          <a:prstGeom prst="rect">
            <a:avLst/>
          </a:prstGeom>
        </p:spPr>
      </p:pic>
      <p:sp>
        <p:nvSpPr>
          <p:cNvPr id="100" name="object 35"/>
          <p:cNvSpPr txBox="1"/>
          <p:nvPr/>
        </p:nvSpPr>
        <p:spPr>
          <a:xfrm>
            <a:off x="10896601" y="2760271"/>
            <a:ext cx="1094080" cy="86498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43815" algn="ctr">
              <a:lnSpc>
                <a:spcPct val="100000"/>
              </a:lnSpc>
              <a:spcBef>
                <a:spcPts val="105"/>
              </a:spcBef>
            </a:pPr>
            <a:r>
              <a:rPr lang="ru-RU" sz="1200" spc="25" dirty="0">
                <a:latin typeface="Tahoma"/>
                <a:cs typeface="Tahoma"/>
              </a:rPr>
              <a:t>охват гос.</a:t>
            </a:r>
          </a:p>
          <a:p>
            <a:pPr marL="43815" algn="ctr">
              <a:lnSpc>
                <a:spcPct val="100000"/>
              </a:lnSpc>
              <a:spcBef>
                <a:spcPts val="105"/>
              </a:spcBef>
            </a:pPr>
            <a:r>
              <a:rPr lang="ru-RU" sz="1200" spc="25" dirty="0">
                <a:latin typeface="Tahoma"/>
                <a:cs typeface="Tahoma"/>
              </a:rPr>
              <a:t>мониторингом</a:t>
            </a:r>
            <a:endParaRPr sz="1200" dirty="0">
              <a:latin typeface="Tahoma"/>
              <a:cs typeface="Tahoma"/>
            </a:endParaRPr>
          </a:p>
          <a:p>
            <a:pPr marL="1905" algn="ctr">
              <a:lnSpc>
                <a:spcPct val="100000"/>
              </a:lnSpc>
              <a:spcBef>
                <a:spcPts val="320"/>
              </a:spcBef>
            </a:pPr>
            <a:r>
              <a:rPr lang="ru-RU" sz="2800" b="1" spc="5" dirty="0">
                <a:latin typeface="Arial"/>
                <a:cs typeface="Arial"/>
              </a:rPr>
              <a:t>  </a:t>
            </a:r>
            <a:r>
              <a:rPr lang="ru-RU" sz="2800" b="1" spc="5" dirty="0">
                <a:solidFill>
                  <a:srgbClr val="002060"/>
                </a:solidFill>
                <a:latin typeface="Arial"/>
                <a:cs typeface="Arial"/>
              </a:rPr>
              <a:t>8</a:t>
            </a:r>
            <a:r>
              <a:rPr sz="2800" b="1" spc="5" dirty="0">
                <a:solidFill>
                  <a:srgbClr val="002060"/>
                </a:solidFill>
                <a:latin typeface="Arial"/>
                <a:cs typeface="Arial"/>
              </a:rPr>
              <a:t>0%</a:t>
            </a:r>
            <a:endParaRPr sz="2800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01" name="object 45"/>
          <p:cNvSpPr/>
          <p:nvPr/>
        </p:nvSpPr>
        <p:spPr>
          <a:xfrm>
            <a:off x="8691538" y="2397175"/>
            <a:ext cx="3078480" cy="113030"/>
          </a:xfrm>
          <a:custGeom>
            <a:avLst/>
            <a:gdLst/>
            <a:ahLst/>
            <a:cxnLst/>
            <a:rect l="l" t="t" r="r" b="b"/>
            <a:pathLst>
              <a:path w="3078479" h="113030">
                <a:moveTo>
                  <a:pt x="658368" y="3048"/>
                </a:moveTo>
                <a:lnTo>
                  <a:pt x="0" y="3048"/>
                </a:lnTo>
                <a:lnTo>
                  <a:pt x="329184" y="111252"/>
                </a:lnTo>
                <a:lnTo>
                  <a:pt x="658368" y="3048"/>
                </a:lnTo>
                <a:close/>
              </a:path>
              <a:path w="3078479" h="113030">
                <a:moveTo>
                  <a:pt x="1891284" y="0"/>
                </a:moveTo>
                <a:lnTo>
                  <a:pt x="1231392" y="0"/>
                </a:lnTo>
                <a:lnTo>
                  <a:pt x="1561338" y="108204"/>
                </a:lnTo>
                <a:lnTo>
                  <a:pt x="1891284" y="0"/>
                </a:lnTo>
                <a:close/>
              </a:path>
              <a:path w="3078479" h="113030">
                <a:moveTo>
                  <a:pt x="3078480" y="4572"/>
                </a:moveTo>
                <a:lnTo>
                  <a:pt x="2420112" y="4572"/>
                </a:lnTo>
                <a:lnTo>
                  <a:pt x="2749296" y="112776"/>
                </a:lnTo>
                <a:lnTo>
                  <a:pt x="3078480" y="4572"/>
                </a:lnTo>
                <a:close/>
              </a:path>
            </a:pathLst>
          </a:custGeom>
          <a:solidFill>
            <a:srgbClr val="45566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Прямоугольник 77"/>
          <p:cNvSpPr/>
          <p:nvPr/>
        </p:nvSpPr>
        <p:spPr>
          <a:xfrm>
            <a:off x="8729886" y="5253824"/>
            <a:ext cx="121737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spc="25" dirty="0" err="1">
                <a:latin typeface="Tahoma"/>
                <a:cs typeface="Tahoma"/>
              </a:rPr>
              <a:t>коэф.частоты</a:t>
            </a:r>
            <a:r>
              <a:rPr lang="ru-RU" sz="1100" spc="25" dirty="0">
                <a:latin typeface="Tahoma"/>
                <a:cs typeface="Tahoma"/>
              </a:rPr>
              <a:t> несчастных случаев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8957698" y="5823059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0,023</a:t>
            </a:r>
          </a:p>
        </p:txBody>
      </p:sp>
      <p:sp>
        <p:nvSpPr>
          <p:cNvPr id="102" name="Прямоугольник 101"/>
          <p:cNvSpPr/>
          <p:nvPr/>
        </p:nvSpPr>
        <p:spPr>
          <a:xfrm>
            <a:off x="10352865" y="5271662"/>
            <a:ext cx="120983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spc="25" dirty="0">
                <a:latin typeface="Tahoma"/>
                <a:cs typeface="Tahoma"/>
              </a:rPr>
              <a:t>уровень сокрытия ПТ и ПЗ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10638076" y="5831325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18:1</a:t>
            </a:r>
          </a:p>
        </p:txBody>
      </p:sp>
      <p:sp>
        <p:nvSpPr>
          <p:cNvPr id="5" name="object 89">
            <a:extLst>
              <a:ext uri="{FF2B5EF4-FFF2-40B4-BE49-F238E27FC236}">
                <a16:creationId xmlns:a16="http://schemas.microsoft.com/office/drawing/2014/main" id="{0DF88B2E-6B5E-7733-E9FD-2EE9C119B2BC}"/>
              </a:ext>
            </a:extLst>
          </p:cNvPr>
          <p:cNvSpPr txBox="1"/>
          <p:nvPr/>
        </p:nvSpPr>
        <p:spPr>
          <a:xfrm>
            <a:off x="11643994" y="6538064"/>
            <a:ext cx="276225" cy="266700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200"/>
              </a:spcBef>
            </a:pPr>
            <a:fld id="{81D60167-4931-47E6-BA6A-407CBD079E47}" type="slidenum">
              <a:rPr sz="1400" dirty="0">
                <a:solidFill>
                  <a:srgbClr val="888888"/>
                </a:solidFill>
                <a:latin typeface="Segoe UI Black"/>
                <a:cs typeface="Segoe UI Black"/>
              </a:rPr>
              <a:t>35</a:t>
            </a:fld>
            <a:endParaRPr sz="1400">
              <a:latin typeface="Segoe UI Black"/>
              <a:cs typeface="Segoe UI Black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/>
          <p:cNvSpPr txBox="1"/>
          <p:nvPr/>
        </p:nvSpPr>
        <p:spPr>
          <a:xfrm>
            <a:off x="2553960" y="605228"/>
            <a:ext cx="35575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инистерство труда и социальной защиты населения Республики Казахстан</a:t>
            </a:r>
          </a:p>
        </p:txBody>
      </p:sp>
      <p:pic>
        <p:nvPicPr>
          <p:cNvPr id="48" name="Picture 2" descr="Картинки по запросу ГЕРБ КАЗАХСТАНА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7442" y="502477"/>
            <a:ext cx="749296" cy="758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9" name="Прямая соединительная линия 48"/>
          <p:cNvCxnSpPr/>
          <p:nvPr/>
        </p:nvCxnSpPr>
        <p:spPr>
          <a:xfrm>
            <a:off x="1395480" y="260648"/>
            <a:ext cx="9432001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1395480" y="6597352"/>
            <a:ext cx="94320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1395479" y="2932175"/>
            <a:ext cx="9546769" cy="107721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altLang="ru-RU" sz="3200" dirty="0">
                <a:solidFill>
                  <a:srgbClr val="0065B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ПРАВОВОЕ И НОРМАТИВНО-ТЕХНИЧЕСКОЕ РЕГУЛИРОВАНИЕ В ОБЛАСТИ ОХРАНЫ ТРУДА</a:t>
            </a: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1395479" y="332656"/>
            <a:ext cx="94320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/>
        </p:nvCxnSpPr>
        <p:spPr>
          <a:xfrm>
            <a:off x="1395479" y="6525344"/>
            <a:ext cx="9432001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3652B21-2BA0-4E6F-A5E4-520A4FB8C72B}"/>
              </a:ext>
            </a:extLst>
          </p:cNvPr>
          <p:cNvSpPr txBox="1"/>
          <p:nvPr/>
        </p:nvSpPr>
        <p:spPr>
          <a:xfrm>
            <a:off x="7032105" y="566419"/>
            <a:ext cx="37953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спубликанский научно-исследовательский институт по охране труда</a:t>
            </a:r>
          </a:p>
        </p:txBody>
      </p:sp>
    </p:spTree>
    <p:extLst>
      <p:ext uri="{BB962C8B-B14F-4D97-AF65-F5344CB8AC3E}">
        <p14:creationId xmlns:p14="http://schemas.microsoft.com/office/powerpoint/2010/main" val="399973677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6114" name="Объект 4" hidden="1">
            <a:extLst>
              <a:ext uri="{FF2B5EF4-FFF2-40B4-BE49-F238E27FC236}">
                <a16:creationId xmlns:a16="http://schemas.microsoft.com/office/drawing/2014/main" id="{78A9CD0E-75AB-4DEF-A4D2-6AE619DF59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292" y="644229"/>
          <a:ext cx="1289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46114" name="Объект 4" hidden="1">
                        <a:extLst>
                          <a:ext uri="{FF2B5EF4-FFF2-40B4-BE49-F238E27FC236}">
                            <a16:creationId xmlns:a16="http://schemas.microsoft.com/office/drawing/2014/main" id="{78A9CD0E-75AB-4DEF-A4D2-6AE619DF59A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292" y="644229"/>
                        <a:ext cx="1289" cy="128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FD97FC22-4B49-4A83-8526-264D9CACAA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642938"/>
            <a:ext cx="128984" cy="1289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975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1261428" y="121253"/>
            <a:ext cx="9787573" cy="56682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72"/>
              </a:spcBef>
              <a:buNone/>
              <a:defRPr/>
            </a:pPr>
            <a:r>
              <a:rPr lang="ru-RU" altLang="en-US" sz="1800" dirty="0">
                <a:solidFill>
                  <a:srgbClr val="002060"/>
                </a:solidFill>
                <a:latin typeface="Arial Black" panose="020B0A04020102020204" pitchFamily="34" charset="0"/>
                <a:sym typeface="Trebuchet MS" panose="020B0603020202020204" pitchFamily="34" charset="0"/>
              </a:rPr>
              <a:t>ПРАВОВОЕ РЕГУЛИРОВАНИЕ </a:t>
            </a:r>
            <a:r>
              <a:rPr lang="ru-RU" altLang="en-US" sz="1700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  <a:sym typeface="Trebuchet MS" panose="020B0603020202020204" pitchFamily="34" charset="0"/>
              </a:rPr>
              <a:t>(ТРУДОВЫЕ НОРМЫ. </a:t>
            </a:r>
            <a:r>
              <a:rPr lang="en-US" altLang="en-US" sz="1700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  <a:sym typeface="Trebuchet MS" panose="020B0603020202020204" pitchFamily="34" charset="0"/>
              </a:rPr>
              <a:t>LABOUR STANDARDS</a:t>
            </a:r>
            <a:r>
              <a:rPr lang="ru-RU" altLang="en-US" sz="1700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  <a:sym typeface="Trebuchet MS" panose="020B0603020202020204" pitchFamily="34" charset="0"/>
              </a:rPr>
              <a:t>)</a:t>
            </a:r>
          </a:p>
          <a:p>
            <a:pPr>
              <a:lnSpc>
                <a:spcPct val="100000"/>
              </a:lnSpc>
              <a:spcBef>
                <a:spcPts val="72"/>
              </a:spcBef>
              <a:buNone/>
              <a:defRPr/>
            </a:pPr>
            <a:r>
              <a:rPr lang="ru-RU" altLang="en-US" sz="1800" dirty="0">
                <a:solidFill>
                  <a:srgbClr val="002060"/>
                </a:solidFill>
                <a:latin typeface="Arial Black" panose="020B0A04020102020204" pitchFamily="34" charset="0"/>
                <a:sym typeface="Trebuchet MS" panose="020B0603020202020204" pitchFamily="34" charset="0"/>
              </a:rPr>
              <a:t>В ОБЛАСТИ ОХРАНЫ ТРУДА</a:t>
            </a:r>
          </a:p>
        </p:txBody>
      </p:sp>
      <p:sp>
        <p:nvSpPr>
          <p:cNvPr id="52" name="Прямоугольник 51" hidden="1"/>
          <p:cNvSpPr/>
          <p:nvPr/>
        </p:nvSpPr>
        <p:spPr>
          <a:xfrm>
            <a:off x="1143000" y="642938"/>
            <a:ext cx="128984" cy="1289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138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271464" y="964301"/>
            <a:ext cx="3024336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авовое регулирование охраны труда – процесс целенаправленного воздействия государства на отношения в сфере охраны труда путем создания правовых норм, регламентирующих требования (стандарты) обеспечения безопасных условий труда и механизм их соблюдения, закрепленные в нормативных правовых актах (</a:t>
            </a:r>
            <a:r>
              <a:rPr lang="ru-RU" sz="1000" u="sng" dirty="0">
                <a:latin typeface="Arial" panose="020B0604020202020204" pitchFamily="34" charset="0"/>
                <a:cs typeface="Arial" panose="020B0604020202020204" pitchFamily="34" charset="0"/>
              </a:rPr>
              <a:t>законах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 </a:t>
            </a:r>
            <a:r>
              <a:rPr lang="ru-RU" sz="1000" u="sng" dirty="0">
                <a:latin typeface="Arial" panose="020B0604020202020204" pitchFamily="34" charset="0"/>
                <a:cs typeface="Arial" panose="020B0604020202020204" pitchFamily="34" charset="0"/>
              </a:rPr>
              <a:t>постановлениях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u="sng" dirty="0">
                <a:latin typeface="Arial" panose="020B0604020202020204" pitchFamily="34" charset="0"/>
                <a:cs typeface="Arial" panose="020B0604020202020204" pitchFamily="34" charset="0"/>
              </a:rPr>
              <a:t>указах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u="sng" dirty="0">
                <a:latin typeface="Arial" panose="020B0604020202020204" pitchFamily="34" charset="0"/>
                <a:cs typeface="Arial" panose="020B0604020202020204" pitchFamily="34" charset="0"/>
              </a:rPr>
              <a:t>распоряжениях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).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439817" y="786954"/>
            <a:ext cx="6480720" cy="43858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7800" algn="just"/>
            <a:r>
              <a:rPr lang="ru-RU" sz="900" b="1" dirty="0">
                <a:solidFill>
                  <a:srgbClr val="2125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овой кодекс Республики Казахстан от 23 ноября 2015 года № 414-V,</a:t>
            </a:r>
          </a:p>
          <a:p>
            <a:pPr indent="177800"/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Постановление </a:t>
            </a:r>
            <a:r>
              <a:rPr lang="ru-RU" sz="900" dirty="0">
                <a:solidFill>
                  <a:srgbClr val="2125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тельства Республики Казахстан от 31 декабря 2015 года № 1182 «Об утверждении Правил принятия нормативных правовых актов в области безопасности и охраны труда соответствующими уполномоченными органами», которое устанавливает требования к НПА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 в области охраны труда по содержанию: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1) общие требования безопасности труда;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2) требования безопасности труда перед началом работы;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3) требования безопасности труда во время работы;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4) требования безопасности труда в аварийных ситуациях;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5) требования безопасности труда по окончании работы;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6) требования к производственным (технологическим) процессам;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7) требования к производственным помещениям;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8) требования к производственным площадкам (для процессов, выполняемых вне производственных помещений);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9) требования к исходным материалам, заготовкам и полуфабрикатам;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10) требования к производственному оборудованию;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11) требования к размещению производственного оборудования и организации рабочих мест;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12) требования к способам хранения и транспортировки исходных материалов, заготовок, полуфабрикатов, готовой продукции и отходов производства;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13) режим труда и отдыха работающих на производстве;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14) требования к профессиональному отбору и проверке знаний работников по вопросам безопасности и охраны труда;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15) требования по обеспечению работающих на производстве специальной одеждой и другими средствами индивидуальной и (или) коллективной защиты;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16) требования к применению средств защиты;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      17) требования по обеспечению работников санитарно-бытовыми помещениями.</a:t>
            </a:r>
          </a:p>
          <a:p>
            <a:pPr indent="177800" algn="just"/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Нормативные правовые акты в области охраны труда устанавливают единые требования в области охраны труда и разграничивают в соответствии с трудовым законодательством РК права и обязанности между работниками, должностными лицами и руководителем организации, обеспечивают согласованные действия между уполномоченным государственным органом по труду, местным органом по инспекции труда, представителями работодателей и работников.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367808" y="964301"/>
            <a:ext cx="0" cy="3467618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Стрелка вправо 13"/>
          <p:cNvSpPr/>
          <p:nvPr/>
        </p:nvSpPr>
        <p:spPr>
          <a:xfrm>
            <a:off x="1415480" y="5229200"/>
            <a:ext cx="1512168" cy="12241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НПА, стандарты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77953" y="5424811"/>
            <a:ext cx="2442669" cy="1385272"/>
          </a:xfrm>
          <a:prstGeom prst="rect">
            <a:avLst/>
          </a:prstGeom>
        </p:spPr>
      </p:pic>
      <p:pic>
        <p:nvPicPr>
          <p:cNvPr id="1035" name="Picture 11" descr="Лучший инженер по охране труда | ПАТ «ДМК»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0925" y="5512758"/>
            <a:ext cx="1080120" cy="1080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6791501" y="5495462"/>
            <a:ext cx="34908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охраны труда на предприятии соблюдены</a:t>
            </a:r>
          </a:p>
        </p:txBody>
      </p:sp>
      <p:sp>
        <p:nvSpPr>
          <p:cNvPr id="25" name="Стрелка вниз 24"/>
          <p:cNvSpPr/>
          <p:nvPr/>
        </p:nvSpPr>
        <p:spPr>
          <a:xfrm>
            <a:off x="3448326" y="4683960"/>
            <a:ext cx="1207514" cy="68822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ГИТ</a:t>
            </a:r>
          </a:p>
        </p:txBody>
      </p:sp>
    </p:spTree>
    <p:extLst>
      <p:ext uri="{BB962C8B-B14F-4D97-AF65-F5344CB8AC3E}">
        <p14:creationId xmlns:p14="http://schemas.microsoft.com/office/powerpoint/2010/main" val="104542582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143001" y="633570"/>
            <a:ext cx="9763125" cy="642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950" dirty="0">
                <a:solidFill>
                  <a:srgbClr val="295E7E"/>
                </a:solidFill>
                <a:latin typeface="Arial Black" panose="020B0A04020102020204" pitchFamily="34" charset="0"/>
              </a:rPr>
              <a:t>СИСТЕМА УПРАВЛЕНИЯ ОХРАНОЙ ТРУДА. </a:t>
            </a:r>
          </a:p>
          <a:p>
            <a:pPr algn="r"/>
            <a:r>
              <a:rPr lang="ru-RU" sz="1625" dirty="0">
                <a:solidFill>
                  <a:srgbClr val="295E7E"/>
                </a:solidFill>
                <a:latin typeface="Arial Black" panose="020B0A04020102020204" pitchFamily="34" charset="0"/>
              </a:rPr>
              <a:t>МИНИМАЛЬНЫЙ СТАНДАРТ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951901" y="1646436"/>
            <a:ext cx="5953864" cy="742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63" dirty="0">
                <a:solidFill>
                  <a:srgbClr val="0070C0"/>
                </a:solidFill>
                <a:latin typeface="Century Gothic" panose="020B0502020202020204" pitchFamily="34" charset="0"/>
              </a:rPr>
              <a:t>Типовое положение о системе управления охраной труда </a:t>
            </a:r>
          </a:p>
          <a:p>
            <a:pPr algn="ctr"/>
            <a:r>
              <a:rPr lang="ru-RU" sz="1138" i="1" dirty="0">
                <a:latin typeface="Century Gothic" panose="020B0502020202020204" pitchFamily="34" charset="0"/>
              </a:rPr>
              <a:t>Приказ МТСЗН РК от 27 августа 2020 года № 340</a:t>
            </a:r>
            <a:r>
              <a:rPr lang="ru-RU" sz="1300" dirty="0"/>
              <a:t> </a:t>
            </a:r>
          </a:p>
          <a:p>
            <a:endParaRPr lang="ru-RU" sz="1463" dirty="0"/>
          </a:p>
        </p:txBody>
      </p:sp>
      <p:sp>
        <p:nvSpPr>
          <p:cNvPr id="41" name="TextBox 40"/>
          <p:cNvSpPr txBox="1"/>
          <p:nvPr/>
        </p:nvSpPr>
        <p:spPr>
          <a:xfrm>
            <a:off x="4218043" y="2692406"/>
            <a:ext cx="3062519" cy="11097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463" indent="-144463">
              <a:spcAft>
                <a:spcPts val="488"/>
              </a:spcAft>
              <a:buClr>
                <a:srgbClr val="2488AC"/>
              </a:buClr>
              <a:buFont typeface="Courier New" panose="02070309020205020404" pitchFamily="49" charset="0"/>
              <a:buChar char="o"/>
              <a:tabLst>
                <a:tab pos="144463" algn="l"/>
              </a:tabLst>
            </a:pPr>
            <a:r>
              <a:rPr lang="ru-RU" sz="1056" dirty="0">
                <a:latin typeface="Century Gothic" panose="020B0502020202020204" pitchFamily="34" charset="0"/>
              </a:rPr>
              <a:t>ПЛАНИРОВАНИЕ</a:t>
            </a:r>
          </a:p>
          <a:p>
            <a:pPr marL="144463" indent="-144463">
              <a:spcAft>
                <a:spcPts val="488"/>
              </a:spcAft>
              <a:buClr>
                <a:srgbClr val="2488AC"/>
              </a:buClr>
              <a:buFont typeface="Courier New" panose="02070309020205020404" pitchFamily="49" charset="0"/>
              <a:buChar char="o"/>
              <a:tabLst>
                <a:tab pos="144463" algn="l"/>
              </a:tabLst>
            </a:pPr>
            <a:r>
              <a:rPr lang="ru-RU" sz="1138" b="1" dirty="0">
                <a:solidFill>
                  <a:srgbClr val="295E7E"/>
                </a:solidFill>
                <a:latin typeface="Century Gothic" panose="020B0502020202020204" pitchFamily="34" charset="0"/>
              </a:rPr>
              <a:t>ФУНКЦИОНИРОВАНИЕ</a:t>
            </a:r>
            <a:r>
              <a:rPr lang="ru-RU" sz="1056" b="1" dirty="0">
                <a:solidFill>
                  <a:srgbClr val="295E7E"/>
                </a:solidFill>
                <a:latin typeface="Century Gothic" panose="020B0502020202020204" pitchFamily="34" charset="0"/>
              </a:rPr>
              <a:t> </a:t>
            </a:r>
          </a:p>
          <a:p>
            <a:pPr marL="144463" indent="-144463">
              <a:spcAft>
                <a:spcPts val="488"/>
              </a:spcAft>
              <a:buClr>
                <a:srgbClr val="2488AC"/>
              </a:buClr>
              <a:buFont typeface="Courier New" panose="02070309020205020404" pitchFamily="49" charset="0"/>
              <a:buChar char="o"/>
              <a:tabLst>
                <a:tab pos="144463" algn="l"/>
              </a:tabLst>
            </a:pPr>
            <a:r>
              <a:rPr lang="ru-RU" sz="1056" dirty="0">
                <a:latin typeface="Century Gothic" panose="020B0502020202020204" pitchFamily="34" charset="0"/>
              </a:rPr>
              <a:t>КОНТРОЛЬ ФУНКЦИОНИРОВАНИЯ И МОНИТОРИНГ РЕАЛИЗАЦИИ ПРОЦЕДУР</a:t>
            </a:r>
          </a:p>
          <a:p>
            <a:pPr marL="144463" indent="-144463">
              <a:spcAft>
                <a:spcPts val="488"/>
              </a:spcAft>
              <a:buClr>
                <a:srgbClr val="2488AC"/>
              </a:buClr>
              <a:buFont typeface="Courier New" panose="02070309020205020404" pitchFamily="49" charset="0"/>
              <a:buChar char="o"/>
              <a:tabLst>
                <a:tab pos="144463" algn="l"/>
              </a:tabLst>
            </a:pPr>
            <a:r>
              <a:rPr lang="ru-RU" sz="1056" dirty="0">
                <a:latin typeface="Century Gothic" panose="020B0502020202020204" pitchFamily="34" charset="0"/>
              </a:rPr>
              <a:t>СОВЕРШЕНСТВОВАНИЕ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243779" y="2400119"/>
            <a:ext cx="3743309" cy="3884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88"/>
              </a:spcAft>
            </a:pPr>
            <a:r>
              <a:rPr lang="ru-RU" sz="975" b="1" dirty="0">
                <a:solidFill>
                  <a:srgbClr val="295E7E"/>
                </a:solidFill>
                <a:latin typeface="Century Gothic" panose="020B0502020202020204" pitchFamily="34" charset="0"/>
              </a:rPr>
              <a:t>Функционирование СУОТ осуществляется посредством реализации следующих процедур:</a:t>
            </a:r>
          </a:p>
          <a:p>
            <a:pPr marL="139303" indent="-139303">
              <a:spcAft>
                <a:spcPts val="488"/>
              </a:spcAft>
              <a:buClr>
                <a:srgbClr val="2488AC"/>
              </a:buClr>
              <a:buFont typeface="Arial" panose="020B0604020202020204" pitchFamily="34" charset="0"/>
              <a:buChar char="•"/>
            </a:pPr>
            <a:r>
              <a:rPr lang="ru-RU" sz="975" dirty="0">
                <a:latin typeface="Century Gothic" panose="020B0502020202020204" pitchFamily="34" charset="0"/>
              </a:rPr>
              <a:t>подготовка работников по </a:t>
            </a:r>
            <a:r>
              <a:rPr lang="ru-RU" sz="975" dirty="0" err="1">
                <a:latin typeface="Century Gothic" panose="020B0502020202020204" pitchFamily="34" charset="0"/>
              </a:rPr>
              <a:t>БиОТ</a:t>
            </a:r>
            <a:r>
              <a:rPr lang="ru-RU" sz="975" dirty="0">
                <a:latin typeface="Century Gothic" panose="020B0502020202020204" pitchFamily="34" charset="0"/>
              </a:rPr>
              <a:t> (повышение квалификации, обучение, инструктирование)</a:t>
            </a:r>
          </a:p>
          <a:p>
            <a:pPr marL="139303" indent="-139303">
              <a:spcAft>
                <a:spcPts val="488"/>
              </a:spcAft>
              <a:buClr>
                <a:srgbClr val="2488AC"/>
              </a:buClr>
              <a:buFont typeface="Arial" panose="020B0604020202020204" pitchFamily="34" charset="0"/>
              <a:buChar char="•"/>
            </a:pPr>
            <a:r>
              <a:rPr lang="ru-RU" sz="975" dirty="0">
                <a:latin typeface="Century Gothic" panose="020B0502020202020204" pitchFamily="34" charset="0"/>
              </a:rPr>
              <a:t>обеспечение документацией по безопасному ведению работ</a:t>
            </a:r>
          </a:p>
          <a:p>
            <a:pPr marL="139303" indent="-139303">
              <a:spcAft>
                <a:spcPts val="488"/>
              </a:spcAft>
              <a:buClr>
                <a:srgbClr val="2488AC"/>
              </a:buClr>
              <a:buFont typeface="Arial" panose="020B0604020202020204" pitchFamily="34" charset="0"/>
              <a:buChar char="•"/>
            </a:pPr>
            <a:r>
              <a:rPr lang="ru-RU" sz="975" dirty="0">
                <a:latin typeface="Century Gothic" panose="020B0502020202020204" pitchFamily="34" charset="0"/>
              </a:rPr>
              <a:t>аттестация производственных объектов по условиям труда</a:t>
            </a:r>
          </a:p>
          <a:p>
            <a:pPr marL="139303" indent="-139303">
              <a:spcAft>
                <a:spcPts val="488"/>
              </a:spcAft>
              <a:buClr>
                <a:srgbClr val="2488AC"/>
              </a:buClr>
              <a:buFont typeface="Arial" panose="020B0604020202020204" pitchFamily="34" charset="0"/>
              <a:buChar char="•"/>
            </a:pPr>
            <a:r>
              <a:rPr lang="ru-RU" sz="975" dirty="0">
                <a:latin typeface="Century Gothic" panose="020B0502020202020204" pitchFamily="34" charset="0"/>
              </a:rPr>
              <a:t>управление профессиональными рисками</a:t>
            </a:r>
          </a:p>
          <a:p>
            <a:pPr marL="139303" indent="-139303">
              <a:spcAft>
                <a:spcPts val="488"/>
              </a:spcAft>
              <a:buClr>
                <a:srgbClr val="2488AC"/>
              </a:buClr>
              <a:buFont typeface="Arial" panose="020B0604020202020204" pitchFamily="34" charset="0"/>
              <a:buChar char="•"/>
            </a:pPr>
            <a:r>
              <a:rPr lang="ru-RU" sz="975" dirty="0">
                <a:latin typeface="Century Gothic" panose="020B0502020202020204" pitchFamily="34" charset="0"/>
              </a:rPr>
              <a:t>мониторинг состояния здоровья работников</a:t>
            </a:r>
          </a:p>
          <a:p>
            <a:pPr marL="139303" indent="-139303">
              <a:spcAft>
                <a:spcPts val="488"/>
              </a:spcAft>
              <a:buClr>
                <a:srgbClr val="2488AC"/>
              </a:buClr>
              <a:buFont typeface="Arial" panose="020B0604020202020204" pitchFamily="34" charset="0"/>
              <a:buChar char="•"/>
            </a:pPr>
            <a:r>
              <a:rPr lang="ru-RU" sz="975" dirty="0">
                <a:latin typeface="Century Gothic" panose="020B0502020202020204" pitchFamily="34" charset="0"/>
              </a:rPr>
              <a:t>обеспечение работников средствами индивидуальной и коллективной защиты, смывающими и обезвреживающими средствами</a:t>
            </a:r>
          </a:p>
          <a:p>
            <a:pPr marL="139303" indent="-139303">
              <a:spcAft>
                <a:spcPts val="488"/>
              </a:spcAft>
              <a:buClr>
                <a:srgbClr val="2488AC"/>
              </a:buClr>
              <a:buFont typeface="Arial" panose="020B0604020202020204" pitchFamily="34" charset="0"/>
              <a:buChar char="•"/>
            </a:pPr>
            <a:r>
              <a:rPr lang="ru-RU" sz="975" dirty="0">
                <a:latin typeface="Century Gothic" panose="020B0502020202020204" pitchFamily="34" charset="0"/>
              </a:rPr>
              <a:t>предоставление гарантий за работу во вредных условиях труда</a:t>
            </a:r>
          </a:p>
          <a:p>
            <a:pPr marL="139303" indent="-139303">
              <a:spcAft>
                <a:spcPts val="488"/>
              </a:spcAft>
              <a:buClr>
                <a:srgbClr val="2488AC"/>
              </a:buClr>
              <a:buFont typeface="Arial" panose="020B0604020202020204" pitchFamily="34" charset="0"/>
              <a:buChar char="•"/>
            </a:pPr>
            <a:r>
              <a:rPr lang="ru-RU" sz="975" dirty="0">
                <a:latin typeface="Century Gothic" panose="020B0502020202020204" pitchFamily="34" charset="0"/>
              </a:rPr>
              <a:t>расследование несчастных случаев, связанных с трудовой деятельностью</a:t>
            </a:r>
          </a:p>
          <a:p>
            <a:pPr marL="139303" indent="-139303">
              <a:spcAft>
                <a:spcPts val="488"/>
              </a:spcAft>
              <a:buClr>
                <a:srgbClr val="2488AC"/>
              </a:buClr>
              <a:buFont typeface="Arial" panose="020B0604020202020204" pitchFamily="34" charset="0"/>
              <a:buChar char="•"/>
            </a:pPr>
            <a:r>
              <a:rPr lang="ru-RU" sz="975" dirty="0">
                <a:latin typeface="Century Gothic" panose="020B0502020202020204" pitchFamily="34" charset="0"/>
              </a:rPr>
              <a:t>страхование от несчастных случаев при исполнении трудовых (служебных) обязанностей</a:t>
            </a:r>
          </a:p>
          <a:p>
            <a:pPr marL="139303" indent="-139303">
              <a:spcAft>
                <a:spcPts val="488"/>
              </a:spcAft>
              <a:buClr>
                <a:srgbClr val="2488AC"/>
              </a:buClr>
              <a:buFont typeface="Arial" panose="020B0604020202020204" pitchFamily="34" charset="0"/>
              <a:buChar char="•"/>
            </a:pPr>
            <a:r>
              <a:rPr lang="ru-RU" sz="975" dirty="0">
                <a:latin typeface="Century Gothic" panose="020B0502020202020204" pitchFamily="34" charset="0"/>
              </a:rPr>
              <a:t>контроль над безопасным выполнением работ подрядными организациями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4190508" y="2230346"/>
            <a:ext cx="3010761" cy="3174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63" dirty="0">
                <a:solidFill>
                  <a:srgbClr val="0070C0"/>
                </a:solidFill>
                <a:latin typeface="Century Gothic" panose="020B0502020202020204" pitchFamily="34" charset="0"/>
              </a:rPr>
              <a:t>Структурные элементы СУОТ </a:t>
            </a:r>
          </a:p>
        </p:txBody>
      </p:sp>
      <p:sp>
        <p:nvSpPr>
          <p:cNvPr id="56" name="Выноска 3 55"/>
          <p:cNvSpPr/>
          <p:nvPr/>
        </p:nvSpPr>
        <p:spPr>
          <a:xfrm>
            <a:off x="7158760" y="2431075"/>
            <a:ext cx="3859285" cy="3753033"/>
          </a:xfrm>
          <a:prstGeom prst="borderCallout3">
            <a:avLst>
              <a:gd name="adj1" fmla="val 3481"/>
              <a:gd name="adj2" fmla="val -32"/>
              <a:gd name="adj3" fmla="val 3648"/>
              <a:gd name="adj4" fmla="val -16297"/>
              <a:gd name="adj5" fmla="val 14894"/>
              <a:gd name="adj6" fmla="val -16426"/>
              <a:gd name="adj7" fmla="val 14786"/>
              <a:gd name="adj8" fmla="val -26993"/>
            </a:avLst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57" name="TextBox 56"/>
          <p:cNvSpPr txBox="1"/>
          <p:nvPr/>
        </p:nvSpPr>
        <p:spPr>
          <a:xfrm>
            <a:off x="3953675" y="5262920"/>
            <a:ext cx="3259146" cy="967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38" i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Процедуры СУОТ определены на основе обязанностей работодателя в отношении работников по обеспечению безопасности и охраны труда, предусмотренных Трудовым кодексом</a:t>
            </a:r>
          </a:p>
        </p:txBody>
      </p:sp>
      <p:cxnSp>
        <p:nvCxnSpPr>
          <p:cNvPr id="59" name="Прямая соединительная линия 58"/>
          <p:cNvCxnSpPr/>
          <p:nvPr/>
        </p:nvCxnSpPr>
        <p:spPr>
          <a:xfrm flipV="1">
            <a:off x="4331548" y="5244223"/>
            <a:ext cx="24163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Рисунок 3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9582" y="5060500"/>
            <a:ext cx="1273629" cy="1133333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1329240" y="5253559"/>
            <a:ext cx="1504952" cy="1027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75"/>
              </a:spcAft>
            </a:pPr>
            <a:r>
              <a:rPr lang="ru-RU" altLang="en-US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Планирование</a:t>
            </a:r>
            <a:r>
              <a:rPr lang="en-AU" altLang="en-US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 (P)</a:t>
            </a:r>
            <a:endParaRPr lang="ru-RU" sz="894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>
              <a:spcAft>
                <a:spcPts val="975"/>
              </a:spcAft>
            </a:pPr>
            <a:r>
              <a:rPr lang="ru-RU" altLang="en-US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Выполнение</a:t>
            </a:r>
            <a:r>
              <a:rPr lang="en-AU" altLang="en-US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 (D)</a:t>
            </a:r>
            <a:endParaRPr lang="ru-RU" sz="894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>
              <a:spcAft>
                <a:spcPts val="975"/>
              </a:spcAft>
            </a:pPr>
            <a:r>
              <a:rPr lang="ru-RU" altLang="en-US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Контроль</a:t>
            </a:r>
            <a:r>
              <a:rPr lang="en-AU" altLang="en-US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 (C)</a:t>
            </a:r>
            <a:endParaRPr lang="ru-RU" sz="894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>
              <a:spcAft>
                <a:spcPts val="975"/>
              </a:spcAft>
            </a:pPr>
            <a:r>
              <a:rPr lang="ru-RU" altLang="en-US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Улучшение</a:t>
            </a:r>
            <a:r>
              <a:rPr lang="en-AU" altLang="en-US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 (A)</a:t>
            </a:r>
            <a:endParaRPr lang="ru-RU" sz="894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1178133" y="2295414"/>
            <a:ext cx="2799645" cy="21936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СУОТ – комплекс взаимосвязанных мероприятий по реализации политики по охране труда, </a:t>
            </a:r>
            <a:r>
              <a:rPr lang="ru-RU" sz="900" dirty="0">
                <a:solidFill>
                  <a:srgbClr val="000000"/>
                </a:solidFill>
                <a:latin typeface="Century Gothic" panose="020B0502020202020204" pitchFamily="34" charset="0"/>
              </a:rPr>
              <a:t>выполнению</a:t>
            </a:r>
            <a:r>
              <a:rPr lang="ru-RU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 требований безопасности труда, управлению профессиональными рисками (ст. 1)</a:t>
            </a:r>
          </a:p>
          <a:p>
            <a:pPr algn="just"/>
            <a:endParaRPr lang="ru-RU" sz="325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ru-RU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Уполномоченный государственный орган               по труду разрабатывает и утверждает типовое положение о СУОТ (</a:t>
            </a:r>
            <a:r>
              <a:rPr lang="ru-RU" sz="894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ст.16</a:t>
            </a:r>
            <a:r>
              <a:rPr lang="ru-RU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)</a:t>
            </a:r>
          </a:p>
          <a:p>
            <a:pPr algn="just"/>
            <a:endParaRPr lang="ru-RU" sz="406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ru-RU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Обязанности работодателя в области </a:t>
            </a:r>
            <a:r>
              <a:rPr lang="ru-RU" sz="894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БиОТ</a:t>
            </a:r>
            <a:endParaRPr lang="ru-RU" sz="894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ru-RU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- внедрять СУОТ и осуществлять контроль за ее функционированием (</a:t>
            </a:r>
            <a:r>
              <a:rPr lang="ru-RU" sz="894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ст.182</a:t>
            </a:r>
            <a:r>
              <a:rPr lang="ru-RU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)</a:t>
            </a:r>
          </a:p>
          <a:p>
            <a:pPr algn="just"/>
            <a:endParaRPr lang="ru-RU" sz="406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ru-RU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Внутренний контроль по безопасности и охране труда включает в себя организацию создания и внедрения СУОТ(</a:t>
            </a:r>
            <a:r>
              <a:rPr lang="ru-RU" sz="894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ст.201</a:t>
            </a:r>
            <a:r>
              <a:rPr lang="ru-RU" sz="894" dirty="0">
                <a:solidFill>
                  <a:srgbClr val="000000"/>
                </a:solidFill>
                <a:latin typeface="Century Gothic" panose="020B0502020202020204" pitchFamily="34" charset="0"/>
              </a:rPr>
              <a:t>)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178134" y="1395246"/>
            <a:ext cx="2781301" cy="542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63" dirty="0">
                <a:solidFill>
                  <a:srgbClr val="0070C0"/>
                </a:solidFill>
                <a:latin typeface="Century Gothic" panose="020B0502020202020204" pitchFamily="34" charset="0"/>
              </a:rPr>
              <a:t>ТРУДОВОЙ КОДЕКС РЕСПУБЛИКИ КАЗАХСТАН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1187655" y="2247788"/>
            <a:ext cx="0" cy="1989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Овал 35"/>
          <p:cNvSpPr/>
          <p:nvPr/>
        </p:nvSpPr>
        <p:spPr>
          <a:xfrm>
            <a:off x="1159080" y="2592580"/>
            <a:ext cx="53029" cy="585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/>
          </a:p>
        </p:txBody>
      </p:sp>
      <p:sp>
        <p:nvSpPr>
          <p:cNvPr id="38" name="Овал 37"/>
          <p:cNvSpPr/>
          <p:nvPr/>
        </p:nvSpPr>
        <p:spPr>
          <a:xfrm>
            <a:off x="1159081" y="3278380"/>
            <a:ext cx="53029" cy="585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/>
          </a:p>
        </p:txBody>
      </p:sp>
      <p:sp>
        <p:nvSpPr>
          <p:cNvPr id="43" name="Овал 42"/>
          <p:cNvSpPr/>
          <p:nvPr/>
        </p:nvSpPr>
        <p:spPr>
          <a:xfrm>
            <a:off x="1159081" y="3707007"/>
            <a:ext cx="53029" cy="585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/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1187653" y="2238263"/>
            <a:ext cx="26617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3844338" y="1506588"/>
            <a:ext cx="0" cy="7312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187655" y="1880982"/>
            <a:ext cx="2724157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75" i="1" dirty="0">
                <a:latin typeface="Century Gothic" panose="020B0502020202020204" pitchFamily="34" charset="0"/>
              </a:rPr>
              <a:t>Внесены изменения относительно внедрения СУОТ (2020 г.) </a:t>
            </a:r>
          </a:p>
        </p:txBody>
      </p:sp>
      <p:sp>
        <p:nvSpPr>
          <p:cNvPr id="58" name="Овал 57"/>
          <p:cNvSpPr/>
          <p:nvPr/>
        </p:nvSpPr>
        <p:spPr>
          <a:xfrm>
            <a:off x="1159082" y="4211831"/>
            <a:ext cx="53029" cy="585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/>
          </a:p>
        </p:txBody>
      </p:sp>
      <p:sp>
        <p:nvSpPr>
          <p:cNvPr id="60" name="TextBox 59"/>
          <p:cNvSpPr txBox="1"/>
          <p:nvPr/>
        </p:nvSpPr>
        <p:spPr>
          <a:xfrm>
            <a:off x="806659" y="4465273"/>
            <a:ext cx="3086100" cy="6176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38" dirty="0">
                <a:solidFill>
                  <a:srgbClr val="0070C0"/>
                </a:solidFill>
                <a:latin typeface="Century Gothic" panose="020B0502020202020204" pitchFamily="34" charset="0"/>
              </a:rPr>
              <a:t>ЭЛЕМЕНТЫ СУОТ,</a:t>
            </a:r>
          </a:p>
          <a:p>
            <a:pPr algn="ctr"/>
            <a:r>
              <a:rPr lang="ru-RU" sz="1138" dirty="0">
                <a:solidFill>
                  <a:srgbClr val="0070C0"/>
                </a:solidFill>
                <a:latin typeface="Century Gothic" panose="020B0502020202020204" pitchFamily="34" charset="0"/>
              </a:rPr>
              <a:t>на основе которых базируются  международные стандарты</a:t>
            </a: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 flipH="1">
            <a:off x="1250208" y="5029741"/>
            <a:ext cx="25806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/>
          <p:nvPr/>
        </p:nvCxnSpPr>
        <p:spPr>
          <a:xfrm>
            <a:off x="3839877" y="4467168"/>
            <a:ext cx="0" cy="5557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/>
        </p:nvCxnSpPr>
        <p:spPr>
          <a:xfrm>
            <a:off x="1250208" y="5041391"/>
            <a:ext cx="0" cy="10822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Овал 63"/>
          <p:cNvSpPr/>
          <p:nvPr/>
        </p:nvSpPr>
        <p:spPr>
          <a:xfrm>
            <a:off x="1221633" y="5336970"/>
            <a:ext cx="53029" cy="585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/>
          </a:p>
        </p:txBody>
      </p:sp>
      <p:sp>
        <p:nvSpPr>
          <p:cNvPr id="65" name="Овал 64"/>
          <p:cNvSpPr/>
          <p:nvPr/>
        </p:nvSpPr>
        <p:spPr>
          <a:xfrm>
            <a:off x="1221634" y="5610020"/>
            <a:ext cx="53029" cy="585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/>
          </a:p>
        </p:txBody>
      </p:sp>
      <p:sp>
        <p:nvSpPr>
          <p:cNvPr id="66" name="Овал 65"/>
          <p:cNvSpPr/>
          <p:nvPr/>
        </p:nvSpPr>
        <p:spPr>
          <a:xfrm>
            <a:off x="1221634" y="6100559"/>
            <a:ext cx="53029" cy="585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/>
          </a:p>
        </p:txBody>
      </p:sp>
      <p:sp>
        <p:nvSpPr>
          <p:cNvPr id="67" name="Овал 66"/>
          <p:cNvSpPr/>
          <p:nvPr/>
        </p:nvSpPr>
        <p:spPr>
          <a:xfrm>
            <a:off x="1221635" y="5852115"/>
            <a:ext cx="53029" cy="585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/>
          </a:p>
        </p:txBody>
      </p:sp>
    </p:spTree>
    <p:extLst>
      <p:ext uri="{BB962C8B-B14F-4D97-AF65-F5344CB8AC3E}">
        <p14:creationId xmlns:p14="http://schemas.microsoft.com/office/powerpoint/2010/main" val="388110638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57174" y="762962"/>
            <a:ext cx="5010835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0065B0"/>
              </a:buClr>
              <a:buFont typeface="Courier New" panose="02070309020205020404" pitchFamily="49" charset="0"/>
              <a:buChar char="o"/>
            </a:pP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Процесс целенаправленного воздействия государства на общественные отношения в сфере безопасности и охраны  труда при помощи специальных юридических средств и методов.</a:t>
            </a:r>
          </a:p>
          <a:p>
            <a:pPr marL="285750" indent="-285750">
              <a:spcAft>
                <a:spcPts val="600"/>
              </a:spcAft>
              <a:buClr>
                <a:srgbClr val="0065B0"/>
              </a:buClr>
              <a:buFont typeface="Courier New" panose="02070309020205020404" pitchFamily="49" charset="0"/>
              <a:buChar char="o"/>
            </a:pP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Осуществляется путем создания правовых норм, устанавливающих стандарты безопасных условий труда и механизм по обеспечению их соблюдения. Данные правовые нормы закрепляются в определенных формах (источниках) – нормативных правовых актах (</a:t>
            </a:r>
            <a:r>
              <a:rPr lang="ru-RU" sz="1400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законах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, </a:t>
            </a:r>
            <a:r>
              <a:rPr lang="ru-RU" sz="1400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постановлениях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, </a:t>
            </a:r>
            <a:r>
              <a:rPr lang="ru-RU" sz="1400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указах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, </a:t>
            </a:r>
            <a:r>
              <a:rPr lang="ru-RU" sz="1400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приказах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). </a:t>
            </a:r>
          </a:p>
          <a:p>
            <a:pPr marL="285750" indent="-285750">
              <a:spcAft>
                <a:spcPts val="600"/>
              </a:spcAft>
              <a:buClr>
                <a:srgbClr val="0065B0"/>
              </a:buClr>
              <a:buFont typeface="Courier New" panose="02070309020205020404" pitchFamily="49" charset="0"/>
              <a:buChar char="o"/>
            </a:pP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Совокупность НПА, содержащих нормы права об охране труда образуют систему законодательства об </a:t>
            </a:r>
            <a:r>
              <a:rPr lang="ru-RU" sz="140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БиОТ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.</a:t>
            </a:r>
          </a:p>
          <a:p>
            <a:pPr marL="285750" indent="-285750">
              <a:spcAft>
                <a:spcPts val="600"/>
              </a:spcAft>
              <a:buClr>
                <a:srgbClr val="0065B0"/>
              </a:buClr>
              <a:buFont typeface="Courier New" panose="02070309020205020404" pitchFamily="49" charset="0"/>
              <a:buChar char="o"/>
            </a:pP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Документы, также  содержащих условия и требования по </a:t>
            </a:r>
            <a:r>
              <a:rPr lang="ru-RU" sz="140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БиОТ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</a:p>
          <a:p>
            <a:pPr marL="285750" indent="-285750">
              <a:spcAft>
                <a:spcPts val="600"/>
              </a:spcAft>
              <a:buClr>
                <a:srgbClr val="0065B0"/>
              </a:buClr>
              <a:buFont typeface="Courier New" panose="02070309020205020404" pitchFamily="49" charset="0"/>
              <a:buChar char="o"/>
            </a:pPr>
            <a:endParaRPr lang="ru-RU" sz="14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559496" y="116632"/>
            <a:ext cx="94895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ПРАВОВОЕ РЕГУЛИРОВАНИЕ БЕЗОПАСНОСТИ И ОХРАНЫ ТРУДА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456041" y="762962"/>
            <a:ext cx="5216515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65B0"/>
                </a:solidFill>
                <a:latin typeface="Century Gothic" panose="020B0502020202020204" pitchFamily="34" charset="0"/>
              </a:rPr>
              <a:t>Нормативные и технические документы в Республике Казахстан </a:t>
            </a:r>
          </a:p>
          <a:p>
            <a:pPr marL="285750" indent="-285750">
              <a:buClr>
                <a:srgbClr val="0065B0"/>
              </a:buClr>
              <a:buFont typeface="Courier New" panose="02070309020205020404" pitchFamily="49" charset="0"/>
              <a:buChar char="o"/>
            </a:pPr>
            <a:r>
              <a:rPr lang="ru-RU" sz="1400" dirty="0">
                <a:latin typeface="Century Gothic" panose="020B0502020202020204" pitchFamily="34" charset="0"/>
              </a:rPr>
              <a:t>Гигиенические нормативы (ГН);</a:t>
            </a:r>
          </a:p>
          <a:p>
            <a:pPr marL="285750" indent="-285750">
              <a:buClr>
                <a:srgbClr val="0065B0"/>
              </a:buClr>
              <a:buFont typeface="Courier New" panose="02070309020205020404" pitchFamily="49" charset="0"/>
              <a:buChar char="o"/>
            </a:pPr>
            <a:r>
              <a:rPr lang="ru-RU" sz="1400" dirty="0">
                <a:latin typeface="Century Gothic" panose="020B0502020202020204" pitchFamily="34" charset="0"/>
              </a:rPr>
              <a:t>Санитарные правила и нормы (СанПиН)</a:t>
            </a:r>
          </a:p>
          <a:p>
            <a:pPr marL="285750" indent="-285750">
              <a:buClr>
                <a:srgbClr val="0065B0"/>
              </a:buClr>
              <a:buFont typeface="Courier New" panose="02070309020205020404" pitchFamily="49" charset="0"/>
              <a:buChar char="o"/>
            </a:pPr>
            <a:r>
              <a:rPr lang="ru-RU" sz="1400" dirty="0">
                <a:latin typeface="Century Gothic" panose="020B0502020202020204" pitchFamily="34" charset="0"/>
              </a:rPr>
              <a:t>Строительные нормы и правила (СНиП)</a:t>
            </a:r>
          </a:p>
          <a:p>
            <a:pPr marL="285750" indent="-285750">
              <a:buClr>
                <a:srgbClr val="0065B0"/>
              </a:buClr>
              <a:buFont typeface="Courier New" panose="02070309020205020404" pitchFamily="49" charset="0"/>
              <a:buChar char="o"/>
            </a:pPr>
            <a:r>
              <a:rPr lang="ru-RU" sz="1400" dirty="0">
                <a:latin typeface="Century Gothic" panose="020B0502020202020204" pitchFamily="34" charset="0"/>
              </a:rPr>
              <a:t>Государственные классификаторы (ГК РК);</a:t>
            </a:r>
          </a:p>
          <a:p>
            <a:pPr marL="285750" indent="-285750">
              <a:buClr>
                <a:srgbClr val="0065B0"/>
              </a:buClr>
              <a:buFont typeface="Courier New" panose="02070309020205020404" pitchFamily="49" charset="0"/>
              <a:buChar char="o"/>
            </a:pPr>
            <a:r>
              <a:rPr lang="ru-RU" sz="1400" dirty="0">
                <a:latin typeface="Century Gothic" panose="020B0502020202020204" pitchFamily="34" charset="0"/>
              </a:rPr>
              <a:t>Технический регламент Таможенного союза</a:t>
            </a:r>
          </a:p>
          <a:p>
            <a:pPr marL="285750" indent="-285750">
              <a:buClr>
                <a:srgbClr val="0065B0"/>
              </a:buClr>
              <a:buFont typeface="Courier New" panose="02070309020205020404" pitchFamily="49" charset="0"/>
              <a:buChar char="o"/>
            </a:pPr>
            <a:r>
              <a:rPr lang="ru-RU" sz="1400" dirty="0">
                <a:latin typeface="Century Gothic" panose="020B0502020202020204" pitchFamily="34" charset="0"/>
              </a:rPr>
              <a:t>Национальный стандарт (СТ РК);</a:t>
            </a:r>
          </a:p>
          <a:p>
            <a:pPr marL="285750" indent="-285750">
              <a:buClr>
                <a:srgbClr val="0065B0"/>
              </a:buClr>
              <a:buFont typeface="Courier New" panose="02070309020205020404" pitchFamily="49" charset="0"/>
              <a:buChar char="o"/>
            </a:pPr>
            <a:r>
              <a:rPr lang="ru-RU" sz="1400" dirty="0">
                <a:latin typeface="Century Gothic" panose="020B0502020202020204" pitchFamily="34" charset="0"/>
              </a:rPr>
              <a:t>Межгосударственный стандарт (ГОСТ ССБТ);</a:t>
            </a:r>
          </a:p>
          <a:p>
            <a:pPr marL="285750" indent="-285750">
              <a:buClr>
                <a:srgbClr val="0065B0"/>
              </a:buClr>
              <a:buFont typeface="Courier New" panose="02070309020205020404" pitchFamily="49" charset="0"/>
              <a:buChar char="o"/>
            </a:pPr>
            <a:r>
              <a:rPr lang="ru-RU" sz="1400" dirty="0">
                <a:latin typeface="Century Gothic" panose="020B0502020202020204" pitchFamily="34" charset="0"/>
              </a:rPr>
              <a:t>Правила техники  безопасности (ПБ)</a:t>
            </a:r>
          </a:p>
          <a:p>
            <a:endParaRPr lang="ru-RU" sz="1400" dirty="0">
              <a:latin typeface="Century Gothic" panose="020B0502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43000" y="4636874"/>
            <a:ext cx="956151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9875" indent="269875">
              <a:buClr>
                <a:srgbClr val="0065B0"/>
              </a:buClr>
              <a:buFont typeface="Arial" panose="020B0604020202020204" pitchFamily="34" charset="0"/>
              <a:buChar char="•"/>
              <a:tabLst>
                <a:tab pos="539750" algn="l"/>
              </a:tabLst>
            </a:pPr>
            <a:r>
              <a:rPr lang="ru-RU" sz="1400" i="1" dirty="0">
                <a:solidFill>
                  <a:srgbClr val="000000"/>
                </a:solidFill>
                <a:latin typeface="Century Gothic" panose="020B0502020202020204" pitchFamily="34" charset="0"/>
              </a:rPr>
              <a:t>коллективные договоры и соглашения по безопасности и охране труда организации</a:t>
            </a:r>
          </a:p>
          <a:p>
            <a:pPr marL="269875" indent="269875">
              <a:buClr>
                <a:srgbClr val="0065B0"/>
              </a:buClr>
              <a:buFont typeface="Arial" panose="020B0604020202020204" pitchFamily="34" charset="0"/>
              <a:buChar char="•"/>
              <a:tabLst>
                <a:tab pos="539750" algn="l"/>
              </a:tabLst>
            </a:pPr>
            <a:r>
              <a:rPr lang="ru-RU" sz="1400" i="1" dirty="0">
                <a:solidFill>
                  <a:srgbClr val="000000"/>
                </a:solidFill>
                <a:latin typeface="Century Gothic" panose="020B0502020202020204" pitchFamily="34" charset="0"/>
              </a:rPr>
              <a:t>индивидуальные трудовые договоры</a:t>
            </a:r>
          </a:p>
          <a:p>
            <a:pPr marL="269875" indent="269875">
              <a:buClr>
                <a:srgbClr val="0065B0"/>
              </a:buClr>
              <a:buFont typeface="Arial" panose="020B0604020202020204" pitchFamily="34" charset="0"/>
              <a:buChar char="•"/>
              <a:tabLst>
                <a:tab pos="539750" algn="l"/>
              </a:tabLst>
            </a:pPr>
            <a:r>
              <a:rPr lang="ru-RU" sz="1400" i="1" dirty="0">
                <a:solidFill>
                  <a:srgbClr val="000000"/>
                </a:solidFill>
                <a:latin typeface="Century Gothic" panose="020B0502020202020204" pitchFamily="34" charset="0"/>
              </a:rPr>
              <a:t>акты работодателя по вопросам безопасности и охраны труда, в том числе инструкции </a:t>
            </a:r>
            <a:r>
              <a:rPr lang="ru-RU" sz="1400" i="1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БиОТ</a:t>
            </a:r>
            <a:endParaRPr lang="ru-RU" sz="1400" i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69875" indent="269875">
              <a:buClr>
                <a:srgbClr val="0065B0"/>
              </a:buClr>
              <a:buFont typeface="Arial" panose="020B0604020202020204" pitchFamily="34" charset="0"/>
              <a:buChar char="•"/>
              <a:tabLst>
                <a:tab pos="539750" algn="l"/>
              </a:tabLst>
            </a:pPr>
            <a:r>
              <a:rPr lang="ru-RU" sz="1400" i="1" dirty="0">
                <a:solidFill>
                  <a:srgbClr val="000000"/>
                </a:solidFill>
                <a:latin typeface="Century Gothic" panose="020B0502020202020204" pitchFamily="34" charset="0"/>
              </a:rPr>
              <a:t>национальные и межгосударственные стандарты</a:t>
            </a:r>
          </a:p>
          <a:p>
            <a:pPr marL="269875" indent="269875">
              <a:buClr>
                <a:srgbClr val="0065B0"/>
              </a:buClr>
              <a:buFont typeface="Arial" panose="020B0604020202020204" pitchFamily="34" charset="0"/>
              <a:buChar char="•"/>
              <a:tabLst>
                <a:tab pos="539750" algn="l"/>
              </a:tabLst>
            </a:pPr>
            <a:r>
              <a:rPr lang="ru-RU" sz="1400" i="1" dirty="0">
                <a:solidFill>
                  <a:srgbClr val="000000"/>
                </a:solidFill>
                <a:latin typeface="Century Gothic" panose="020B0502020202020204" pitchFamily="34" charset="0"/>
              </a:rPr>
              <a:t>стандарты предприятия</a:t>
            </a:r>
          </a:p>
          <a:p>
            <a:pPr marL="269875" indent="269875">
              <a:buClr>
                <a:srgbClr val="0065B0"/>
              </a:buClr>
              <a:buFont typeface="Arial" panose="020B0604020202020204" pitchFamily="34" charset="0"/>
              <a:buChar char="•"/>
              <a:tabLst>
                <a:tab pos="539750" algn="l"/>
              </a:tabLst>
            </a:pPr>
            <a:r>
              <a:rPr lang="ru-RU" sz="1400" i="1" dirty="0">
                <a:solidFill>
                  <a:srgbClr val="000000"/>
                </a:solidFill>
                <a:latin typeface="Century Gothic" panose="020B0502020202020204" pitchFamily="34" charset="0"/>
              </a:rPr>
              <a:t>отраслевые нормы и правила</a:t>
            </a:r>
            <a:endParaRPr lang="ru-RU" sz="1600" i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ru-RU" sz="1400" dirty="0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1224661" y="620688"/>
            <a:ext cx="976282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666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6097589" y="1555751"/>
            <a:ext cx="5848351" cy="46624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100" b="1" dirty="0">
              <a:solidFill>
                <a:srgbClr val="FFFFFF">
                  <a:lumMod val="50000"/>
                </a:srgbClr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19"/>
          <p:cNvSpPr txBox="1">
            <a:spLocks noChangeArrowheads="1"/>
          </p:cNvSpPr>
          <p:nvPr/>
        </p:nvSpPr>
        <p:spPr bwMode="auto">
          <a:xfrm>
            <a:off x="1775520" y="-287633"/>
            <a:ext cx="864096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None/>
            </a:pPr>
            <a:endParaRPr lang="ru-RU" altLang="ru-RU" sz="2400" b="1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24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еждународные стандарты социальной защиты лиц, пострадавших на производстве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5A448CA8-4EDF-49C2-A682-2527D0D0C34E}"/>
              </a:ext>
            </a:extLst>
          </p:cNvPr>
          <p:cNvSpPr/>
          <p:nvPr/>
        </p:nvSpPr>
        <p:spPr>
          <a:xfrm>
            <a:off x="431371" y="3615553"/>
            <a:ext cx="11302243" cy="22626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179" indent="-357179" algn="just">
              <a:lnSpc>
                <a:spcPct val="150000"/>
              </a:lnSpc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Каждое государство-член Международной организации труда гарантирует: </a:t>
            </a:r>
          </a:p>
          <a:p>
            <a:pPr marL="357179" indent="-357179" algn="just">
              <a:lnSpc>
                <a:spcPct val="150000"/>
              </a:lnSpc>
            </a:pP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гарантирует</a:t>
            </a:r>
            <a:r>
              <a:rPr lang="ru-RU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ское обслуживание;</a:t>
            </a:r>
            <a:r>
              <a:rPr lang="x-non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57179" indent="-357179" algn="just">
              <a:lnSpc>
                <a:spcPct val="150000"/>
              </a:lnSpc>
            </a:pP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- гарантирует </a:t>
            </a: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нежные выплаты;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- принимает </a:t>
            </a: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ы для предупреждения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есчастных случаев на производстве и профессиональных заболеваний;</a:t>
            </a:r>
            <a:r>
              <a:rPr lang="x-non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7179" indent="-357179" algn="just">
              <a:lnSpc>
                <a:spcPct val="150000"/>
              </a:lnSpc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- создает </a:t>
            </a: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ужбы восстановления трудоспособности;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57179" indent="-357179" algn="just">
              <a:lnSpc>
                <a:spcPct val="150000"/>
              </a:lnSpc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- принимает </a:t>
            </a: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ы для того, чтобы способствовать устройству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нвалидов на подходящую работу.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AFE10B4-6E38-4F53-8E67-24F4DE68F896}"/>
              </a:ext>
            </a:extLst>
          </p:cNvPr>
          <p:cNvSpPr/>
          <p:nvPr/>
        </p:nvSpPr>
        <p:spPr>
          <a:xfrm>
            <a:off x="3262547" y="1037531"/>
            <a:ext cx="260465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венции о компенсации работникам (несчастные случаи) 1925 г.(№ 17),</a:t>
            </a:r>
          </a:p>
          <a:p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рофессиональные заболевания) 1925 г. (№ 18) , Конвенция о равенстве обращения (компенсациях при несчастных случаях) 1925 г. (№ 19)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23A04FD7-D968-4B3E-94E4-11A06A377A4F}"/>
              </a:ext>
            </a:extLst>
          </p:cNvPr>
          <p:cNvGrpSpPr/>
          <p:nvPr/>
        </p:nvGrpSpPr>
        <p:grpSpPr>
          <a:xfrm>
            <a:off x="364968" y="1037531"/>
            <a:ext cx="2414651" cy="1489779"/>
            <a:chOff x="256142" y="627682"/>
            <a:chExt cx="2646838" cy="757788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9133C3D6-D1F9-46B9-9525-0A3A608686D9}"/>
                </a:ext>
              </a:extLst>
            </p:cNvPr>
            <p:cNvSpPr/>
            <p:nvPr/>
          </p:nvSpPr>
          <p:spPr>
            <a:xfrm>
              <a:off x="256142" y="751265"/>
              <a:ext cx="2503648" cy="634205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30D5071D-4690-4D41-8554-3221CAAE1FFA}"/>
                </a:ext>
              </a:extLst>
            </p:cNvPr>
            <p:cNvSpPr/>
            <p:nvPr/>
          </p:nvSpPr>
          <p:spPr>
            <a:xfrm>
              <a:off x="256142" y="627682"/>
              <a:ext cx="2646838" cy="6853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8000" tIns="432000" rIns="288000" bIns="0" numCol="1" spcCol="1270" rtlCol="0" anchor="t" anchorCtr="0">
              <a:noAutofit/>
            </a:bodyPr>
            <a:lstStyle/>
            <a:p>
              <a:pPr defTabSz="533387">
                <a:lnSpc>
                  <a:spcPts val="1500"/>
                </a:lnSpc>
                <a:spcBef>
                  <a:spcPct val="0"/>
                </a:spcBef>
              </a:pPr>
              <a:r>
                <a:rPr lang="ru-RU" sz="12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нвенция о вознаграждении рабочих (сельское хозяйство) 1921 года (№ 12)</a:t>
              </a:r>
            </a:p>
          </p:txBody>
        </p:sp>
      </p:grp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CFAA2DCF-AD97-4D9C-856F-C2E73C613F9D}"/>
              </a:ext>
            </a:extLst>
          </p:cNvPr>
          <p:cNvSpPr/>
          <p:nvPr/>
        </p:nvSpPr>
        <p:spPr>
          <a:xfrm>
            <a:off x="6183879" y="1286866"/>
            <a:ext cx="24859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венция о стандартах социального обеспечения 1952 г. (№ 102)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AF5E935-F690-41BA-98FE-7376B8C4AA6A}"/>
              </a:ext>
            </a:extLst>
          </p:cNvPr>
          <p:cNvSpPr/>
          <p:nvPr/>
        </p:nvSpPr>
        <p:spPr>
          <a:xfrm>
            <a:off x="9235837" y="1230125"/>
            <a:ext cx="2497776" cy="656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33387">
              <a:lnSpc>
                <a:spcPts val="1500"/>
              </a:lnSpc>
            </a:pPr>
            <a:r>
              <a:rPr lang="ru-RU" sz="1200" b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венция о пособиях в случае производственного травматизма 1964 г. (№ 121)</a:t>
            </a:r>
          </a:p>
        </p:txBody>
      </p:sp>
      <p:graphicFrame>
        <p:nvGraphicFramePr>
          <p:cNvPr id="18" name="Объект 6" descr="Графический элемент SmartArt для изображения схемы процесса">
            <a:extLst>
              <a:ext uri="{FF2B5EF4-FFF2-40B4-BE49-F238E27FC236}">
                <a16:creationId xmlns:a16="http://schemas.microsoft.com/office/drawing/2014/main" id="{2A541F12-EF80-4906-9883-635378B756B6}"/>
              </a:ext>
            </a:extLst>
          </p:cNvPr>
          <p:cNvGraphicFramePr>
            <a:graphicFrameLocks/>
          </p:cNvGraphicFramePr>
          <p:nvPr/>
        </p:nvGraphicFramePr>
        <p:xfrm>
          <a:off x="5009" y="1028734"/>
          <a:ext cx="11982203" cy="30163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2E9AD13-4367-A1C1-00EA-07B4F0FA72C2}"/>
              </a:ext>
            </a:extLst>
          </p:cNvPr>
          <p:cNvSpPr txBox="1"/>
          <p:nvPr/>
        </p:nvSpPr>
        <p:spPr>
          <a:xfrm>
            <a:off x="11770993" y="6488668"/>
            <a:ext cx="407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KZ" sz="1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34132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Диаграмма 43"/>
          <p:cNvGraphicFramePr/>
          <p:nvPr/>
        </p:nvGraphicFramePr>
        <p:xfrm>
          <a:off x="5470592" y="1842650"/>
          <a:ext cx="5434739" cy="2378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5" name="TextBox 44"/>
          <p:cNvSpPr txBox="1"/>
          <p:nvPr/>
        </p:nvSpPr>
        <p:spPr>
          <a:xfrm>
            <a:off x="5519936" y="710408"/>
            <a:ext cx="541820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 данным предварительного анализа в системе технического регулирования Республики Казахстан в области безопасности и охраны труда действуют </a:t>
            </a:r>
            <a:r>
              <a:rPr lang="ru-RU" dirty="0">
                <a:solidFill>
                  <a:srgbClr val="0065B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30</a:t>
            </a: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стандартов, из них:</a:t>
            </a:r>
          </a:p>
          <a:p>
            <a:r>
              <a:rPr lang="ru-RU" sz="1400" dirty="0">
                <a:solidFill>
                  <a:srgbClr val="0065B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1 </a:t>
            </a: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циональных стандартов (СТ РК)</a:t>
            </a:r>
          </a:p>
          <a:p>
            <a:r>
              <a:rPr lang="ru-RU" sz="1400" dirty="0">
                <a:solidFill>
                  <a:srgbClr val="0065B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09</a:t>
            </a: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жгосударственных (ГОСТ)</a:t>
            </a:r>
          </a:p>
          <a:p>
            <a:r>
              <a:rPr lang="ru-RU" sz="1400" dirty="0">
                <a:solidFill>
                  <a:srgbClr val="0065B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 </a:t>
            </a: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ностранных стандарта (ГОСТ Р)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143002" y="30429"/>
            <a:ext cx="9905999" cy="46166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СИСТЕМА СТАНДАРТОВ БЕЗОПАСНОСТИ ТРУДА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224661" y="620688"/>
            <a:ext cx="976282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1143002" y="830708"/>
            <a:ext cx="4016895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176213" algn="just"/>
            <a:r>
              <a:rPr lang="ru-RU" sz="1200" dirty="0">
                <a:latin typeface="Century Gothic" panose="020B0502020202020204" pitchFamily="34" charset="0"/>
              </a:rPr>
              <a:t>Стандартизация в Республике Казахстан основывается на </a:t>
            </a:r>
            <a:r>
              <a:rPr lang="ru-RU" sz="1600" dirty="0">
                <a:solidFill>
                  <a:srgbClr val="0065B0"/>
                </a:solidFill>
                <a:latin typeface="Century Gothic" panose="020B0502020202020204" pitchFamily="34" charset="0"/>
              </a:rPr>
              <a:t>принципе добровольности </a:t>
            </a:r>
            <a:r>
              <a:rPr lang="ru-RU" sz="1200" dirty="0">
                <a:latin typeface="Century Gothic" panose="020B0502020202020204" pitchFamily="34" charset="0"/>
              </a:rPr>
              <a:t>выбора с целью применения документов по стандартизации, если иное не установлено законодательством РК</a:t>
            </a:r>
          </a:p>
          <a:p>
            <a:pPr indent="176213"/>
            <a:r>
              <a:rPr lang="ru-RU" sz="1200" dirty="0">
                <a:latin typeface="Century Gothic" panose="020B0502020202020204" pitchFamily="34" charset="0"/>
              </a:rPr>
              <a:t>Национальные, межгосударственные стандарты являются </a:t>
            </a:r>
            <a:r>
              <a:rPr lang="ru-RU" sz="1600" dirty="0">
                <a:solidFill>
                  <a:srgbClr val="0065B0"/>
                </a:solidFill>
                <a:latin typeface="Century Gothic" panose="020B0502020202020204" pitchFamily="34" charset="0"/>
              </a:rPr>
              <a:t>обязательными </a:t>
            </a:r>
            <a:r>
              <a:rPr lang="ru-RU" sz="1200" dirty="0">
                <a:latin typeface="Century Gothic" panose="020B0502020202020204" pitchFamily="34" charset="0"/>
              </a:rPr>
              <a:t>для применения, если:</a:t>
            </a:r>
          </a:p>
          <a:p>
            <a:pPr marL="171450" indent="-171450">
              <a:buClr>
                <a:srgbClr val="0065B0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Century Gothic" panose="020B0502020202020204" pitchFamily="34" charset="0"/>
              </a:rPr>
              <a:t>имеются указания об этом в законодательстве РК</a:t>
            </a:r>
          </a:p>
          <a:p>
            <a:pPr marL="171450" indent="-171450" algn="just">
              <a:buClr>
                <a:srgbClr val="0065B0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Century Gothic" panose="020B0502020202020204" pitchFamily="34" charset="0"/>
              </a:rPr>
              <a:t>субъект в добровольном порядке заявил о соответствии объекта стандартизации документу по стандартизации (маркировка, эксплуатационная документация) </a:t>
            </a:r>
          </a:p>
          <a:p>
            <a:pPr marL="171450" indent="-171450">
              <a:buClr>
                <a:srgbClr val="0065B0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Century Gothic" panose="020B0502020202020204" pitchFamily="34" charset="0"/>
              </a:rPr>
              <a:t>если объект стандартизации в добровольном порядке сертифицирован на соответствие требованиям документа по стандартизации</a:t>
            </a:r>
          </a:p>
          <a:p>
            <a:endParaRPr lang="ru-RU" sz="1200" dirty="0">
              <a:latin typeface="Century Gothic" panose="020B0502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306815" y="4328922"/>
            <a:ext cx="968066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65B0"/>
              </a:buClr>
            </a:pPr>
            <a:r>
              <a:rPr lang="ru-RU" sz="1200" dirty="0">
                <a:latin typeface="Century Gothic" panose="020B0502020202020204" pitchFamily="34" charset="0"/>
              </a:rPr>
              <a:t>Кроме того, из </a:t>
            </a:r>
            <a:r>
              <a:rPr lang="ru-RU" sz="1400" dirty="0">
                <a:solidFill>
                  <a:srgbClr val="0065B0"/>
                </a:solidFill>
                <a:latin typeface="Century Gothic" panose="020B0502020202020204" pitchFamily="34" charset="0"/>
              </a:rPr>
              <a:t>47</a:t>
            </a:r>
            <a:r>
              <a:rPr lang="ru-RU" sz="1200" dirty="0">
                <a:latin typeface="Century Gothic" panose="020B0502020202020204" pitchFamily="34" charset="0"/>
              </a:rPr>
              <a:t> Технических регламентов  </a:t>
            </a:r>
            <a:r>
              <a:rPr lang="ru-RU" sz="1400" dirty="0">
                <a:solidFill>
                  <a:srgbClr val="0065B0"/>
                </a:solidFill>
                <a:latin typeface="Century Gothic" panose="020B0502020202020204" pitchFamily="34" charset="0"/>
              </a:rPr>
              <a:t>18</a:t>
            </a:r>
            <a:r>
              <a:rPr lang="ru-RU" sz="1200" dirty="0">
                <a:latin typeface="Century Gothic" panose="020B0502020202020204" pitchFamily="34" charset="0"/>
              </a:rPr>
              <a:t> содержат требования безопасности к производственным  процессам  и эргономики и имеют Перечень взаимосвязанных стандартов, </a:t>
            </a:r>
            <a:r>
              <a:rPr lang="ru-RU" sz="1200" b="1" dirty="0">
                <a:latin typeface="Century Gothic" panose="020B0502020202020204" pitchFamily="34" charset="0"/>
              </a:rPr>
              <a:t>не входящих в систему стандартов безопасности  труда,              но описывающих требования в безопасности производства работ, эксплуатации, изготовления и т.п. 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 flipV="1">
            <a:off x="1728790" y="4293096"/>
            <a:ext cx="9209349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3">
            <a:biLevel thresh="75000"/>
          </a:blip>
          <a:srcRect l="3779" r="22494"/>
          <a:stretch/>
        </p:blipFill>
        <p:spPr>
          <a:xfrm>
            <a:off x="1223142" y="5085185"/>
            <a:ext cx="4656835" cy="1660917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4">
            <a:biLevel thresh="75000"/>
          </a:blip>
          <a:srcRect l="5357"/>
          <a:stretch/>
        </p:blipFill>
        <p:spPr>
          <a:xfrm>
            <a:off x="6039198" y="5005660"/>
            <a:ext cx="4960686" cy="1874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820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D0BA56-30A1-2C53-24EB-DDB2B09E18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17167C86-2C5B-3571-4E05-6217A7A17077}"/>
              </a:ext>
            </a:extLst>
          </p:cNvPr>
          <p:cNvGraphicFramePr/>
          <p:nvPr/>
        </p:nvGraphicFramePr>
        <p:xfrm>
          <a:off x="663737" y="1172616"/>
          <a:ext cx="3218447" cy="18399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0E893C90-7FA8-A66D-635B-35880F7C9327}"/>
              </a:ext>
            </a:extLst>
          </p:cNvPr>
          <p:cNvGraphicFramePr/>
          <p:nvPr/>
        </p:nvGraphicFramePr>
        <p:xfrm>
          <a:off x="3188239" y="1172616"/>
          <a:ext cx="3218447" cy="18399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1163FA1-1C43-44B4-0B84-10B6747433B3}"/>
              </a:ext>
            </a:extLst>
          </p:cNvPr>
          <p:cNvSpPr txBox="1"/>
          <p:nvPr/>
        </p:nvSpPr>
        <p:spPr>
          <a:xfrm>
            <a:off x="1583499" y="186208"/>
            <a:ext cx="96481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ИЗВОДСТВЕННЫЙ ТРАВМАТИЗМ </a:t>
            </a:r>
            <a:r>
              <a:rPr lang="ru-RU" sz="1600" i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за 8 месяцев 2025 года*)</a:t>
            </a:r>
          </a:p>
        </p:txBody>
      </p:sp>
      <p:grpSp>
        <p:nvGrpSpPr>
          <p:cNvPr id="109" name="组合 52">
            <a:extLst>
              <a:ext uri="{FF2B5EF4-FFF2-40B4-BE49-F238E27FC236}">
                <a16:creationId xmlns:a16="http://schemas.microsoft.com/office/drawing/2014/main" id="{4E7100E8-8A91-89AA-2495-179609B7A742}"/>
              </a:ext>
            </a:extLst>
          </p:cNvPr>
          <p:cNvGrpSpPr/>
          <p:nvPr/>
        </p:nvGrpSpPr>
        <p:grpSpPr>
          <a:xfrm>
            <a:off x="1192813" y="1457762"/>
            <a:ext cx="9772963" cy="3208385"/>
            <a:chOff x="1226622" y="1436121"/>
            <a:chExt cx="9772963" cy="3208388"/>
          </a:xfrm>
        </p:grpSpPr>
        <p:sp>
          <p:nvSpPr>
            <p:cNvPr id="120" name="Oval 11">
              <a:extLst>
                <a:ext uri="{FF2B5EF4-FFF2-40B4-BE49-F238E27FC236}">
                  <a16:creationId xmlns:a16="http://schemas.microsoft.com/office/drawing/2014/main" id="{C25EE5F0-ECC1-21B1-6E16-B9DEE3336499}"/>
                </a:ext>
              </a:extLst>
            </p:cNvPr>
            <p:cNvSpPr/>
            <p:nvPr/>
          </p:nvSpPr>
          <p:spPr>
            <a:xfrm>
              <a:off x="9296082" y="1461013"/>
              <a:ext cx="1250215" cy="1269616"/>
            </a:xfrm>
            <a:prstGeom prst="ellipse">
              <a:avLst/>
            </a:prstGeom>
            <a:solidFill>
              <a:sysClr val="window" lastClr="FFFFFF"/>
            </a:solidFill>
            <a:ln w="28575" cap="rnd" cmpd="sng" algn="ctr">
              <a:noFill/>
              <a:prstDash val="solid"/>
              <a:round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914377">
                <a:defRPr/>
              </a:pPr>
              <a:r>
                <a:rPr lang="ru-RU" sz="1867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от 35 до </a:t>
              </a:r>
              <a:r>
                <a:rPr lang="ru-RU" sz="2133" b="1" kern="0" dirty="0">
                  <a:solidFill>
                    <a:srgbClr val="FF0000"/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100</a:t>
              </a:r>
              <a:r>
                <a:rPr lang="en-IN" sz="2133" b="1" kern="0" dirty="0">
                  <a:solidFill>
                    <a:srgbClr val="FF0000"/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%</a:t>
              </a:r>
              <a:endParaRPr lang="en-IN" sz="1867" b="1" kern="0" dirty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endParaRPr>
            </a:p>
          </p:txBody>
        </p:sp>
        <p:sp>
          <p:nvSpPr>
            <p:cNvPr id="128" name="Oval 2">
              <a:extLst>
                <a:ext uri="{FF2B5EF4-FFF2-40B4-BE49-F238E27FC236}">
                  <a16:creationId xmlns:a16="http://schemas.microsoft.com/office/drawing/2014/main" id="{C85EF34C-B643-A754-0C7B-6A493EB0E15D}"/>
                </a:ext>
              </a:extLst>
            </p:cNvPr>
            <p:cNvSpPr/>
            <p:nvPr/>
          </p:nvSpPr>
          <p:spPr>
            <a:xfrm>
              <a:off x="1770502" y="1854534"/>
              <a:ext cx="1020147" cy="432792"/>
            </a:xfrm>
            <a:prstGeom prst="ellipse">
              <a:avLst/>
            </a:prstGeom>
            <a:solidFill>
              <a:sysClr val="window" lastClr="FFFFFF"/>
            </a:solidFill>
            <a:ln w="28575" cap="rnd" cmpd="sng" algn="ctr">
              <a:noFill/>
              <a:prstDash val="solid"/>
              <a:round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914377">
                <a:defRPr/>
              </a:pPr>
              <a:r>
                <a:rPr lang="ru-RU" sz="2000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6,1</a:t>
              </a:r>
              <a:r>
                <a:rPr lang="en-IN" sz="2000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%</a:t>
              </a:r>
            </a:p>
          </p:txBody>
        </p:sp>
        <p:sp>
          <p:nvSpPr>
            <p:cNvPr id="127" name="Oval 5">
              <a:extLst>
                <a:ext uri="{FF2B5EF4-FFF2-40B4-BE49-F238E27FC236}">
                  <a16:creationId xmlns:a16="http://schemas.microsoft.com/office/drawing/2014/main" id="{90ADD8C5-C5A5-F5EE-4CE2-12C19FDF1EBB}"/>
                </a:ext>
              </a:extLst>
            </p:cNvPr>
            <p:cNvSpPr/>
            <p:nvPr/>
          </p:nvSpPr>
          <p:spPr>
            <a:xfrm>
              <a:off x="4340770" y="1889702"/>
              <a:ext cx="1020147" cy="432792"/>
            </a:xfrm>
            <a:prstGeom prst="ellipse">
              <a:avLst/>
            </a:prstGeom>
            <a:solidFill>
              <a:sysClr val="window" lastClr="FFFFFF"/>
            </a:solidFill>
            <a:ln w="28575" cap="rnd" cmpd="sng" algn="ctr">
              <a:noFill/>
              <a:prstDash val="solid"/>
              <a:round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914377">
                <a:defRPr/>
              </a:pPr>
              <a:r>
                <a:rPr lang="ru-RU" sz="2000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3,4</a:t>
              </a:r>
              <a:r>
                <a:rPr lang="en-IN" sz="2000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%</a:t>
              </a:r>
            </a:p>
          </p:txBody>
        </p:sp>
        <p:sp>
          <p:nvSpPr>
            <p:cNvPr id="123" name="Oval 8">
              <a:extLst>
                <a:ext uri="{FF2B5EF4-FFF2-40B4-BE49-F238E27FC236}">
                  <a16:creationId xmlns:a16="http://schemas.microsoft.com/office/drawing/2014/main" id="{B6A3BF36-AFEA-C6D1-736D-0A3B7DBDA0CD}"/>
                </a:ext>
              </a:extLst>
            </p:cNvPr>
            <p:cNvSpPr/>
            <p:nvPr/>
          </p:nvSpPr>
          <p:spPr>
            <a:xfrm>
              <a:off x="6791222" y="1436121"/>
              <a:ext cx="1258800" cy="1269616"/>
            </a:xfrm>
            <a:prstGeom prst="ellipse">
              <a:avLst/>
            </a:prstGeom>
            <a:noFill/>
            <a:ln w="28575" cap="rnd" cmpd="sng" algn="ctr">
              <a:noFill/>
              <a:prstDash val="solid"/>
              <a:round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914377">
                <a:defRPr/>
              </a:pPr>
              <a:r>
                <a:rPr lang="ru-RU" sz="1867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от 21 до </a:t>
              </a:r>
              <a:r>
                <a:rPr lang="ru-RU" sz="2133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53%</a:t>
              </a:r>
              <a:r>
                <a:rPr lang="ru-RU" sz="1867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 </a:t>
              </a:r>
              <a:endParaRPr lang="en-IN" sz="1867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endParaRPr>
            </a:p>
          </p:txBody>
        </p:sp>
        <p:sp>
          <p:nvSpPr>
            <p:cNvPr id="115" name="Rectangle 55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>
              <a:extLst>
                <a:ext uri="{FF2B5EF4-FFF2-40B4-BE49-F238E27FC236}">
                  <a16:creationId xmlns:a16="http://schemas.microsoft.com/office/drawing/2014/main" id="{B293716C-BF25-BFF1-D5EA-8F672C8855E2}"/>
                </a:ext>
              </a:extLst>
            </p:cNvPr>
            <p:cNvSpPr/>
            <p:nvPr/>
          </p:nvSpPr>
          <p:spPr>
            <a:xfrm>
              <a:off x="1226622" y="3040670"/>
              <a:ext cx="1995425" cy="830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377">
                <a:defRPr/>
              </a:pPr>
              <a:r>
                <a:rPr lang="ru-RU" altLang="zh-CN" sz="1600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Снижение </a:t>
              </a:r>
            </a:p>
            <a:p>
              <a:pPr algn="ctr" defTabSz="914377">
                <a:defRPr/>
              </a:pPr>
              <a:r>
                <a:rPr lang="ru-RU" sz="1600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несчастных случаев</a:t>
              </a:r>
              <a:endParaRPr lang="en-US" sz="16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endParaRPr>
            </a:p>
          </p:txBody>
        </p:sp>
        <p:sp>
          <p:nvSpPr>
            <p:cNvPr id="116" name="Rectangle 64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>
              <a:extLst>
                <a:ext uri="{FF2B5EF4-FFF2-40B4-BE49-F238E27FC236}">
                  <a16:creationId xmlns:a16="http://schemas.microsoft.com/office/drawing/2014/main" id="{23BF3872-B7EA-6FAF-B6A1-16B32DDF3EEE}"/>
                </a:ext>
              </a:extLst>
            </p:cNvPr>
            <p:cNvSpPr/>
            <p:nvPr/>
          </p:nvSpPr>
          <p:spPr>
            <a:xfrm>
              <a:off x="3729542" y="3040670"/>
              <a:ext cx="2152941" cy="13234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ru-RU" altLang="zh-CN" sz="1600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Снижение несчастных случаев со смертельным исходом</a:t>
              </a:r>
              <a:endParaRPr lang="en-US" altLang="zh-CN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endParaRPr>
            </a:p>
          </p:txBody>
        </p:sp>
        <p:sp>
          <p:nvSpPr>
            <p:cNvPr id="117" name="Rectangle 65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>
              <a:extLst>
                <a:ext uri="{FF2B5EF4-FFF2-40B4-BE49-F238E27FC236}">
                  <a16:creationId xmlns:a16="http://schemas.microsoft.com/office/drawing/2014/main" id="{D8B6BC4B-CFAF-6050-B7E9-E7457D6EC6BA}"/>
                </a:ext>
              </a:extLst>
            </p:cNvPr>
            <p:cNvSpPr/>
            <p:nvPr/>
          </p:nvSpPr>
          <p:spPr>
            <a:xfrm>
              <a:off x="6232264" y="3040670"/>
              <a:ext cx="2292327" cy="16038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ct val="120000"/>
                </a:lnSpc>
                <a:defRPr/>
              </a:pPr>
              <a:r>
                <a:rPr lang="ru-RU" altLang="zh-CN" sz="1600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Снижение несчастных случаев в разрезе регионов </a:t>
              </a:r>
            </a:p>
            <a:p>
              <a:pPr lvl="0" algn="ctr">
                <a:lnSpc>
                  <a:spcPct val="120000"/>
                </a:lnSpc>
                <a:defRPr/>
              </a:pPr>
              <a:r>
                <a:rPr lang="ru-RU" altLang="zh-CN" sz="2000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 </a:t>
              </a:r>
              <a:endParaRPr lang="en-US" altLang="zh-CN" sz="20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endParaRPr>
            </a:p>
          </p:txBody>
        </p:sp>
        <p:sp>
          <p:nvSpPr>
            <p:cNvPr id="118" name="Rectangle 66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>
              <a:extLst>
                <a:ext uri="{FF2B5EF4-FFF2-40B4-BE49-F238E27FC236}">
                  <a16:creationId xmlns:a16="http://schemas.microsoft.com/office/drawing/2014/main" id="{6A898E5B-9CA9-A51E-F029-841C4AAA231A}"/>
                </a:ext>
              </a:extLst>
            </p:cNvPr>
            <p:cNvSpPr/>
            <p:nvPr/>
          </p:nvSpPr>
          <p:spPr>
            <a:xfrm>
              <a:off x="8855708" y="3168298"/>
              <a:ext cx="2143877" cy="94699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ct val="120000"/>
                </a:lnSpc>
                <a:defRPr/>
              </a:pPr>
              <a:r>
                <a:rPr lang="ru-RU" altLang="zh-CN" sz="1600" b="1" kern="0" dirty="0">
                  <a:solidFill>
                    <a:srgbClr val="C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Рост</a:t>
              </a:r>
              <a:r>
                <a:rPr lang="ru-RU" altLang="zh-CN" sz="1600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 несчастных случаев в разрезе регионов</a:t>
              </a:r>
              <a:endParaRPr lang="en-US" altLang="zh-CN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endParaRPr>
            </a:p>
          </p:txBody>
        </p:sp>
      </p:grpSp>
      <p:grpSp>
        <p:nvGrpSpPr>
          <p:cNvPr id="130" name="组合 53">
            <a:extLst>
              <a:ext uri="{FF2B5EF4-FFF2-40B4-BE49-F238E27FC236}">
                <a16:creationId xmlns:a16="http://schemas.microsoft.com/office/drawing/2014/main" id="{9EB8453F-8998-EB32-1E6A-8956EEBF1230}"/>
              </a:ext>
            </a:extLst>
          </p:cNvPr>
          <p:cNvGrpSpPr/>
          <p:nvPr/>
        </p:nvGrpSpPr>
        <p:grpSpPr>
          <a:xfrm>
            <a:off x="930015" y="4370278"/>
            <a:ext cx="10332597" cy="1939041"/>
            <a:chOff x="930014" y="3603910"/>
            <a:chExt cx="10332597" cy="2177908"/>
          </a:xfrm>
        </p:grpSpPr>
        <p:sp>
          <p:nvSpPr>
            <p:cNvPr id="131" name="Freeform 121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>
              <a:extLst>
                <a:ext uri="{FF2B5EF4-FFF2-40B4-BE49-F238E27FC236}">
                  <a16:creationId xmlns:a16="http://schemas.microsoft.com/office/drawing/2014/main" id="{AA3AC33E-1BF3-BD07-9D80-42ECDE7FA23E}"/>
                </a:ext>
              </a:extLst>
            </p:cNvPr>
            <p:cNvSpPr/>
            <p:nvPr/>
          </p:nvSpPr>
          <p:spPr>
            <a:xfrm>
              <a:off x="930014" y="3603910"/>
              <a:ext cx="2591347" cy="2159079"/>
            </a:xfrm>
            <a:custGeom>
              <a:avLst/>
              <a:gdLst>
                <a:gd name="connsiteX0" fmla="*/ 1079941 w 2159882"/>
                <a:gd name="connsiteY0" fmla="*/ 0 h 1799588"/>
                <a:gd name="connsiteX1" fmla="*/ 1263390 w 2159882"/>
                <a:gd name="connsiteY1" fmla="*/ 158145 h 1799588"/>
                <a:gd name="connsiteX2" fmla="*/ 2159882 w 2159882"/>
                <a:gd name="connsiteY2" fmla="*/ 158145 h 1799588"/>
                <a:gd name="connsiteX3" fmla="*/ 2159882 w 2159882"/>
                <a:gd name="connsiteY3" fmla="*/ 1799588 h 1799588"/>
                <a:gd name="connsiteX4" fmla="*/ 0 w 2159882"/>
                <a:gd name="connsiteY4" fmla="*/ 1799588 h 1799588"/>
                <a:gd name="connsiteX5" fmla="*/ 0 w 2159882"/>
                <a:gd name="connsiteY5" fmla="*/ 158145 h 1799588"/>
                <a:gd name="connsiteX6" fmla="*/ 896492 w 2159882"/>
                <a:gd name="connsiteY6" fmla="*/ 158145 h 179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59882" h="1799588">
                  <a:moveTo>
                    <a:pt x="1079941" y="0"/>
                  </a:moveTo>
                  <a:lnTo>
                    <a:pt x="1263390" y="158145"/>
                  </a:lnTo>
                  <a:lnTo>
                    <a:pt x="2159882" y="158145"/>
                  </a:lnTo>
                  <a:lnTo>
                    <a:pt x="2159882" y="1799588"/>
                  </a:lnTo>
                  <a:lnTo>
                    <a:pt x="0" y="1799588"/>
                  </a:lnTo>
                  <a:lnTo>
                    <a:pt x="0" y="158145"/>
                  </a:lnTo>
                  <a:lnTo>
                    <a:pt x="896492" y="158145"/>
                  </a:lnTo>
                  <a:close/>
                </a:path>
              </a:pathLst>
            </a:cu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IN" sz="1733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  <a:sym typeface="+mn-lt"/>
              </a:endParaRPr>
            </a:p>
          </p:txBody>
        </p:sp>
        <p:sp>
          <p:nvSpPr>
            <p:cNvPr id="132" name="Freeform 125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>
              <a:extLst>
                <a:ext uri="{FF2B5EF4-FFF2-40B4-BE49-F238E27FC236}">
                  <a16:creationId xmlns:a16="http://schemas.microsoft.com/office/drawing/2014/main" id="{7B258499-EB78-54A4-9C5E-7CDDA5EF5251}"/>
                </a:ext>
              </a:extLst>
            </p:cNvPr>
            <p:cNvSpPr/>
            <p:nvPr/>
          </p:nvSpPr>
          <p:spPr>
            <a:xfrm>
              <a:off x="3521361" y="3622739"/>
              <a:ext cx="2591346" cy="2159079"/>
            </a:xfrm>
            <a:custGeom>
              <a:avLst/>
              <a:gdLst>
                <a:gd name="connsiteX0" fmla="*/ 1079941 w 2159882"/>
                <a:gd name="connsiteY0" fmla="*/ 0 h 1799588"/>
                <a:gd name="connsiteX1" fmla="*/ 1263390 w 2159882"/>
                <a:gd name="connsiteY1" fmla="*/ 158145 h 1799588"/>
                <a:gd name="connsiteX2" fmla="*/ 2159882 w 2159882"/>
                <a:gd name="connsiteY2" fmla="*/ 158145 h 1799588"/>
                <a:gd name="connsiteX3" fmla="*/ 2159882 w 2159882"/>
                <a:gd name="connsiteY3" fmla="*/ 1799588 h 1799588"/>
                <a:gd name="connsiteX4" fmla="*/ 0 w 2159882"/>
                <a:gd name="connsiteY4" fmla="*/ 1799588 h 1799588"/>
                <a:gd name="connsiteX5" fmla="*/ 0 w 2159882"/>
                <a:gd name="connsiteY5" fmla="*/ 158145 h 1799588"/>
                <a:gd name="connsiteX6" fmla="*/ 896492 w 2159882"/>
                <a:gd name="connsiteY6" fmla="*/ 158145 h 179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59882" h="1799588">
                  <a:moveTo>
                    <a:pt x="1079941" y="0"/>
                  </a:moveTo>
                  <a:lnTo>
                    <a:pt x="1263390" y="158145"/>
                  </a:lnTo>
                  <a:lnTo>
                    <a:pt x="2159882" y="158145"/>
                  </a:lnTo>
                  <a:lnTo>
                    <a:pt x="2159882" y="1799588"/>
                  </a:lnTo>
                  <a:lnTo>
                    <a:pt x="0" y="1799588"/>
                  </a:lnTo>
                  <a:lnTo>
                    <a:pt x="0" y="158145"/>
                  </a:lnTo>
                  <a:lnTo>
                    <a:pt x="896492" y="158145"/>
                  </a:lnTo>
                  <a:close/>
                </a:path>
              </a:pathLst>
            </a:custGeom>
            <a:solidFill>
              <a:srgbClr val="0070C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IN" sz="1733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  <a:sym typeface="+mn-lt"/>
              </a:endParaRPr>
            </a:p>
          </p:txBody>
        </p:sp>
        <p:sp>
          <p:nvSpPr>
            <p:cNvPr id="133" name="Freeform 130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>
              <a:extLst>
                <a:ext uri="{FF2B5EF4-FFF2-40B4-BE49-F238E27FC236}">
                  <a16:creationId xmlns:a16="http://schemas.microsoft.com/office/drawing/2014/main" id="{88F3A869-28C3-31CE-7117-3633D806E5C3}"/>
                </a:ext>
              </a:extLst>
            </p:cNvPr>
            <p:cNvSpPr/>
            <p:nvPr/>
          </p:nvSpPr>
          <p:spPr>
            <a:xfrm>
              <a:off x="6089824" y="3622739"/>
              <a:ext cx="2591346" cy="2159079"/>
            </a:xfrm>
            <a:custGeom>
              <a:avLst/>
              <a:gdLst>
                <a:gd name="connsiteX0" fmla="*/ 1079941 w 2159882"/>
                <a:gd name="connsiteY0" fmla="*/ 0 h 1799588"/>
                <a:gd name="connsiteX1" fmla="*/ 1263390 w 2159882"/>
                <a:gd name="connsiteY1" fmla="*/ 158145 h 1799588"/>
                <a:gd name="connsiteX2" fmla="*/ 2159882 w 2159882"/>
                <a:gd name="connsiteY2" fmla="*/ 158145 h 1799588"/>
                <a:gd name="connsiteX3" fmla="*/ 2159882 w 2159882"/>
                <a:gd name="connsiteY3" fmla="*/ 1799588 h 1799588"/>
                <a:gd name="connsiteX4" fmla="*/ 0 w 2159882"/>
                <a:gd name="connsiteY4" fmla="*/ 1799588 h 1799588"/>
                <a:gd name="connsiteX5" fmla="*/ 0 w 2159882"/>
                <a:gd name="connsiteY5" fmla="*/ 158145 h 1799588"/>
                <a:gd name="connsiteX6" fmla="*/ 896492 w 2159882"/>
                <a:gd name="connsiteY6" fmla="*/ 158145 h 179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59882" h="1799588">
                  <a:moveTo>
                    <a:pt x="1079941" y="0"/>
                  </a:moveTo>
                  <a:lnTo>
                    <a:pt x="1263390" y="158145"/>
                  </a:lnTo>
                  <a:lnTo>
                    <a:pt x="2159882" y="158145"/>
                  </a:lnTo>
                  <a:lnTo>
                    <a:pt x="2159882" y="1799588"/>
                  </a:lnTo>
                  <a:lnTo>
                    <a:pt x="0" y="1799588"/>
                  </a:lnTo>
                  <a:lnTo>
                    <a:pt x="0" y="158145"/>
                  </a:lnTo>
                  <a:lnTo>
                    <a:pt x="896492" y="158145"/>
                  </a:lnTo>
                  <a:close/>
                </a:path>
              </a:pathLst>
            </a:custGeom>
            <a:solidFill>
              <a:srgbClr val="09477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IN" sz="1733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  <a:sym typeface="+mn-lt"/>
              </a:endParaRPr>
            </a:p>
          </p:txBody>
        </p:sp>
        <p:sp>
          <p:nvSpPr>
            <p:cNvPr id="134" name="Freeform 135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>
              <a:extLst>
                <a:ext uri="{FF2B5EF4-FFF2-40B4-BE49-F238E27FC236}">
                  <a16:creationId xmlns:a16="http://schemas.microsoft.com/office/drawing/2014/main" id="{99A8BF16-A532-564A-B4A8-6F577C50EB97}"/>
                </a:ext>
              </a:extLst>
            </p:cNvPr>
            <p:cNvSpPr/>
            <p:nvPr/>
          </p:nvSpPr>
          <p:spPr>
            <a:xfrm>
              <a:off x="8671265" y="3622739"/>
              <a:ext cx="2591346" cy="2159079"/>
            </a:xfrm>
            <a:custGeom>
              <a:avLst/>
              <a:gdLst>
                <a:gd name="connsiteX0" fmla="*/ 1079941 w 2159882"/>
                <a:gd name="connsiteY0" fmla="*/ 0 h 1799588"/>
                <a:gd name="connsiteX1" fmla="*/ 1263390 w 2159882"/>
                <a:gd name="connsiteY1" fmla="*/ 158145 h 1799588"/>
                <a:gd name="connsiteX2" fmla="*/ 2159882 w 2159882"/>
                <a:gd name="connsiteY2" fmla="*/ 158145 h 1799588"/>
                <a:gd name="connsiteX3" fmla="*/ 2159882 w 2159882"/>
                <a:gd name="connsiteY3" fmla="*/ 1799588 h 1799588"/>
                <a:gd name="connsiteX4" fmla="*/ 0 w 2159882"/>
                <a:gd name="connsiteY4" fmla="*/ 1799588 h 1799588"/>
                <a:gd name="connsiteX5" fmla="*/ 0 w 2159882"/>
                <a:gd name="connsiteY5" fmla="*/ 158145 h 1799588"/>
                <a:gd name="connsiteX6" fmla="*/ 896492 w 2159882"/>
                <a:gd name="connsiteY6" fmla="*/ 158145 h 179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59882" h="1799588">
                  <a:moveTo>
                    <a:pt x="1079941" y="0"/>
                  </a:moveTo>
                  <a:lnTo>
                    <a:pt x="1263390" y="158145"/>
                  </a:lnTo>
                  <a:lnTo>
                    <a:pt x="2159882" y="158145"/>
                  </a:lnTo>
                  <a:lnTo>
                    <a:pt x="2159882" y="1799588"/>
                  </a:lnTo>
                  <a:lnTo>
                    <a:pt x="0" y="1799588"/>
                  </a:lnTo>
                  <a:lnTo>
                    <a:pt x="0" y="158145"/>
                  </a:lnTo>
                  <a:lnTo>
                    <a:pt x="896492" y="158145"/>
                  </a:lnTo>
                  <a:close/>
                </a:path>
              </a:pathLst>
            </a:cu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IN" sz="1733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  <a:sym typeface="+mn-lt"/>
              </a:endParaRPr>
            </a:p>
          </p:txBody>
        </p:sp>
        <p:sp>
          <p:nvSpPr>
            <p:cNvPr id="135" name="Rectangle 39">
              <a:extLst>
                <a:ext uri="{FF2B5EF4-FFF2-40B4-BE49-F238E27FC236}">
                  <a16:creationId xmlns:a16="http://schemas.microsoft.com/office/drawing/2014/main" id="{E13BE665-5201-F3EC-1FDD-2D74615B6E43}"/>
                </a:ext>
              </a:extLst>
            </p:cNvPr>
            <p:cNvSpPr/>
            <p:nvPr/>
          </p:nvSpPr>
          <p:spPr>
            <a:xfrm>
              <a:off x="1078901" y="4151919"/>
              <a:ext cx="2292328" cy="8410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ru-RU" altLang="zh-CN" sz="16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  <a:sym typeface="+mn-lt"/>
                </a:rPr>
                <a:t>с 838 до 892 человек </a:t>
              </a:r>
              <a:r>
                <a:rPr lang="ru-RU" altLang="zh-CN" sz="1333" i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  <a:sym typeface="+mn-lt"/>
                </a:rPr>
                <a:t>(по сравнению с 8 месяцами 2024 года)</a:t>
              </a:r>
              <a:endParaRPr lang="zh-CN" altLang="en-US" sz="16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  <a:sym typeface="+mn-lt"/>
              </a:endParaRPr>
            </a:p>
          </p:txBody>
        </p:sp>
        <p:sp>
          <p:nvSpPr>
            <p:cNvPr id="140" name="Rectangle 46">
              <a:extLst>
                <a:ext uri="{FF2B5EF4-FFF2-40B4-BE49-F238E27FC236}">
                  <a16:creationId xmlns:a16="http://schemas.microsoft.com/office/drawing/2014/main" id="{8C4752B4-8992-53FC-7BE1-B066884693AE}"/>
                </a:ext>
              </a:extLst>
            </p:cNvPr>
            <p:cNvSpPr/>
            <p:nvPr/>
          </p:nvSpPr>
          <p:spPr>
            <a:xfrm>
              <a:off x="3639895" y="4151922"/>
              <a:ext cx="2292328" cy="8410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ru-RU" altLang="zh-CN" sz="16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  <a:sym typeface="+mn-lt"/>
                </a:rPr>
                <a:t>с 117 до 113 человек </a:t>
              </a:r>
              <a:r>
                <a:rPr lang="ru-RU" altLang="zh-CN" sz="1333" i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  <a:sym typeface="+mn-lt"/>
                </a:rPr>
                <a:t>(по сравнению с 8 месяцами 2024 года)</a:t>
              </a:r>
              <a:endParaRPr lang="zh-CN" altLang="en-US" sz="16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  <a:sym typeface="+mn-lt"/>
              </a:endParaRPr>
            </a:p>
          </p:txBody>
        </p:sp>
        <p:sp>
          <p:nvSpPr>
            <p:cNvPr id="141" name="Rectangle 49">
              <a:extLst>
                <a:ext uri="{FF2B5EF4-FFF2-40B4-BE49-F238E27FC236}">
                  <a16:creationId xmlns:a16="http://schemas.microsoft.com/office/drawing/2014/main" id="{1CDE89F5-2466-377B-6262-51253359E46A}"/>
                </a:ext>
              </a:extLst>
            </p:cNvPr>
            <p:cNvSpPr/>
            <p:nvPr/>
          </p:nvSpPr>
          <p:spPr>
            <a:xfrm>
              <a:off x="6240648" y="4164662"/>
              <a:ext cx="2292328" cy="9333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ru-RU" altLang="zh-CN" sz="160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  <a:sym typeface="+mn-lt"/>
                </a:rPr>
                <a:t>в области Абай - на 53%, ЗКО на 47%,             г. Астана – на 21%</a:t>
              </a:r>
              <a:endParaRPr lang="zh-CN" altLang="en-US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  <a:sym typeface="+mn-lt"/>
              </a:endParaRPr>
            </a:p>
          </p:txBody>
        </p:sp>
        <p:sp>
          <p:nvSpPr>
            <p:cNvPr id="142" name="Rectangle 52">
              <a:extLst>
                <a:ext uri="{FF2B5EF4-FFF2-40B4-BE49-F238E27FC236}">
                  <a16:creationId xmlns:a16="http://schemas.microsoft.com/office/drawing/2014/main" id="{5D0D6A0C-ABE9-34FB-8B90-35A47AACB2C4}"/>
                </a:ext>
              </a:extLst>
            </p:cNvPr>
            <p:cNvSpPr/>
            <p:nvPr/>
          </p:nvSpPr>
          <p:spPr>
            <a:xfrm>
              <a:off x="8821898" y="4006778"/>
              <a:ext cx="2292328" cy="17630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ru-RU" altLang="zh-CN" sz="160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  <a:sym typeface="+mn-lt"/>
                </a:rPr>
                <a:t>в Атырауской области – 100%, области </a:t>
              </a:r>
              <a:r>
                <a:rPr lang="ru-RU" altLang="zh-CN" sz="1600" dirty="0" err="1">
                  <a:solidFill>
                    <a:prstClr val="white"/>
                  </a:solidFill>
                  <a:latin typeface="Arial" pitchFamily="34" charset="0"/>
                  <a:cs typeface="Arial" pitchFamily="34" charset="0"/>
                  <a:sym typeface="+mn-lt"/>
                </a:rPr>
                <a:t>Улытау</a:t>
              </a:r>
              <a:r>
                <a:rPr lang="ru-RU" altLang="zh-CN" sz="160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  <a:sym typeface="+mn-lt"/>
                </a:rPr>
                <a:t> на 50%, Актюбинской области – на 35%,                г. Шымкент – на 55%</a:t>
              </a:r>
              <a:r>
                <a:rPr lang="en-US" altLang="zh-CN" sz="160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  <a:sym typeface="+mn-lt"/>
                </a:rPr>
                <a:t> </a:t>
              </a:r>
              <a:endParaRPr lang="zh-CN" altLang="en-US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  <a:sym typeface="+mn-lt"/>
              </a:endParaRPr>
            </a:p>
          </p:txBody>
        </p:sp>
      </p:grpSp>
      <p:sp>
        <p:nvSpPr>
          <p:cNvPr id="5" name="Стрелка вниз 4">
            <a:extLst>
              <a:ext uri="{FF2B5EF4-FFF2-40B4-BE49-F238E27FC236}">
                <a16:creationId xmlns:a16="http://schemas.microsoft.com/office/drawing/2014/main" id="{8057CEAF-A293-F979-4B1A-0E87F06C04C9}"/>
              </a:ext>
            </a:extLst>
          </p:cNvPr>
          <p:cNvSpPr/>
          <p:nvPr/>
        </p:nvSpPr>
        <p:spPr>
          <a:xfrm>
            <a:off x="1007435" y="1666093"/>
            <a:ext cx="335733" cy="999944"/>
          </a:xfrm>
          <a:prstGeom prst="downArrow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0" name="Стрелка вниз 4">
            <a:extLst>
              <a:ext uri="{FF2B5EF4-FFF2-40B4-BE49-F238E27FC236}">
                <a16:creationId xmlns:a16="http://schemas.microsoft.com/office/drawing/2014/main" id="{D5045232-F6D0-8680-5FD6-081F40900DC9}"/>
              </a:ext>
            </a:extLst>
          </p:cNvPr>
          <p:cNvSpPr/>
          <p:nvPr/>
        </p:nvSpPr>
        <p:spPr>
          <a:xfrm>
            <a:off x="3552022" y="1666093"/>
            <a:ext cx="335733" cy="999944"/>
          </a:xfrm>
          <a:prstGeom prst="down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5D314EB5-BF6E-D1C5-52F4-9DE3251A0ADC}"/>
              </a:ext>
            </a:extLst>
          </p:cNvPr>
          <p:cNvGraphicFramePr/>
          <p:nvPr/>
        </p:nvGraphicFramePr>
        <p:xfrm>
          <a:off x="5751905" y="1197509"/>
          <a:ext cx="3218447" cy="18399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071EFBA8-311F-3AF2-1C27-D6F445DF157C}"/>
              </a:ext>
            </a:extLst>
          </p:cNvPr>
          <p:cNvGraphicFramePr/>
          <p:nvPr/>
        </p:nvGraphicFramePr>
        <p:xfrm>
          <a:off x="8278159" y="1197509"/>
          <a:ext cx="3218447" cy="18399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Стрелка вниз 4">
            <a:extLst>
              <a:ext uri="{FF2B5EF4-FFF2-40B4-BE49-F238E27FC236}">
                <a16:creationId xmlns:a16="http://schemas.microsoft.com/office/drawing/2014/main" id="{14D54A4B-8498-A9A5-4EAB-51C1FD7AE974}"/>
              </a:ext>
            </a:extLst>
          </p:cNvPr>
          <p:cNvSpPr/>
          <p:nvPr/>
        </p:nvSpPr>
        <p:spPr>
          <a:xfrm>
            <a:off x="6051896" y="1672731"/>
            <a:ext cx="335733" cy="999944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15" name="Стрелка вниз 4">
            <a:extLst>
              <a:ext uri="{FF2B5EF4-FFF2-40B4-BE49-F238E27FC236}">
                <a16:creationId xmlns:a16="http://schemas.microsoft.com/office/drawing/2014/main" id="{31976676-846C-9D1C-CE3B-AE3D7FE4BF72}"/>
              </a:ext>
            </a:extLst>
          </p:cNvPr>
          <p:cNvSpPr/>
          <p:nvPr/>
        </p:nvSpPr>
        <p:spPr>
          <a:xfrm rot="10800000">
            <a:off x="8681172" y="1693752"/>
            <a:ext cx="335733" cy="999944"/>
          </a:xfrm>
          <a:prstGeom prst="downArrow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B51E7A-2092-3326-1C93-2CB4278D4E10}"/>
              </a:ext>
            </a:extLst>
          </p:cNvPr>
          <p:cNvSpPr txBox="1"/>
          <p:nvPr/>
        </p:nvSpPr>
        <p:spPr>
          <a:xfrm>
            <a:off x="11770993" y="6488668"/>
            <a:ext cx="407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KZ" sz="1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6792311-7205-C934-9DDF-EA0A928D0047}"/>
              </a:ext>
            </a:extLst>
          </p:cNvPr>
          <p:cNvSpPr txBox="1"/>
          <p:nvPr/>
        </p:nvSpPr>
        <p:spPr>
          <a:xfrm>
            <a:off x="239350" y="6476441"/>
            <a:ext cx="8777556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67" i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*По данным Комитета государственной инспекции труда Министерства труда и социальной защиты населения Республики Казахстан</a:t>
            </a:r>
          </a:p>
        </p:txBody>
      </p:sp>
    </p:spTree>
    <p:extLst>
      <p:ext uri="{BB962C8B-B14F-4D97-AF65-F5344CB8AC3E}">
        <p14:creationId xmlns:p14="http://schemas.microsoft.com/office/powerpoint/2010/main" val="37023827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199456" y="164638"/>
            <a:ext cx="109452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ИЗВОДСТВЕННЫЙ ТРАВМАТИЗМ: ОСНОВНЫЕ ПРИЧИНЫ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383216" y="836713"/>
            <a:ext cx="11281403" cy="3826528"/>
            <a:chOff x="503436" y="2366150"/>
            <a:chExt cx="8461052" cy="2869896"/>
          </a:xfrm>
        </p:grpSpPr>
        <p:grpSp>
          <p:nvGrpSpPr>
            <p:cNvPr id="37" name="Group 1">
              <a:extLst>
                <a:ext uri="{FF2B5EF4-FFF2-40B4-BE49-F238E27FC236}">
                  <a16:creationId xmlns:a16="http://schemas.microsoft.com/office/drawing/2014/main" id="{8261CD8F-86AF-58F5-5EAD-2C0EC8E0BAA2}"/>
                </a:ext>
              </a:extLst>
            </p:cNvPr>
            <p:cNvGrpSpPr/>
            <p:nvPr/>
          </p:nvGrpSpPr>
          <p:grpSpPr>
            <a:xfrm>
              <a:off x="503436" y="2366150"/>
              <a:ext cx="2781606" cy="2869896"/>
              <a:chOff x="1045473" y="3547057"/>
              <a:chExt cx="5943280" cy="6131927"/>
            </a:xfrm>
          </p:grpSpPr>
          <p:sp>
            <p:nvSpPr>
              <p:cNvPr id="38" name="Freeform 5">
                <a:extLst>
                  <a:ext uri="{FF2B5EF4-FFF2-40B4-BE49-F238E27FC236}">
                    <a16:creationId xmlns:a16="http://schemas.microsoft.com/office/drawing/2014/main" id="{7C8A1E62-84FF-D3BB-874E-ACE1D253D16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 flipH="1">
                <a:off x="3218097" y="5275185"/>
                <a:ext cx="4791922" cy="2749391"/>
              </a:xfrm>
              <a:custGeom>
                <a:avLst/>
                <a:gdLst>
                  <a:gd name="T0" fmla="*/ 0 w 933"/>
                  <a:gd name="T1" fmla="*/ 507 h 535"/>
                  <a:gd name="T2" fmla="*/ 467 w 933"/>
                  <a:gd name="T3" fmla="*/ 535 h 535"/>
                  <a:gd name="T4" fmla="*/ 933 w 933"/>
                  <a:gd name="T5" fmla="*/ 494 h 535"/>
                  <a:gd name="T6" fmla="*/ 875 w 933"/>
                  <a:gd name="T7" fmla="*/ 305 h 535"/>
                  <a:gd name="T8" fmla="*/ 237 w 933"/>
                  <a:gd name="T9" fmla="*/ 127 h 535"/>
                  <a:gd name="T10" fmla="*/ 0 w 933"/>
                  <a:gd name="T11" fmla="*/ 507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3" h="535">
                    <a:moveTo>
                      <a:pt x="0" y="507"/>
                    </a:moveTo>
                    <a:cubicBezTo>
                      <a:pt x="467" y="535"/>
                      <a:pt x="467" y="535"/>
                      <a:pt x="467" y="535"/>
                    </a:cubicBezTo>
                    <a:cubicBezTo>
                      <a:pt x="933" y="494"/>
                      <a:pt x="933" y="494"/>
                      <a:pt x="933" y="494"/>
                    </a:cubicBezTo>
                    <a:cubicBezTo>
                      <a:pt x="928" y="430"/>
                      <a:pt x="909" y="365"/>
                      <a:pt x="875" y="305"/>
                    </a:cubicBezTo>
                    <a:cubicBezTo>
                      <a:pt x="748" y="80"/>
                      <a:pt x="462" y="0"/>
                      <a:pt x="237" y="127"/>
                    </a:cubicBezTo>
                    <a:cubicBezTo>
                      <a:pt x="94" y="208"/>
                      <a:pt x="9" y="353"/>
                      <a:pt x="0" y="507"/>
                    </a:cubicBez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txBody>
              <a:bodyPr vert="horz" wrap="square" lIns="121544" tIns="60771" rIns="121544" bIns="60771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id-ID" sz="1733" b="1" kern="0" dirty="0">
                  <a:solidFill>
                    <a:prstClr val="black"/>
                  </a:solidFill>
                  <a:sym typeface="+mn-lt"/>
                </a:endParaRPr>
              </a:p>
            </p:txBody>
          </p:sp>
          <p:sp>
            <p:nvSpPr>
              <p:cNvPr id="39" name="Freeform 6">
                <a:extLst>
                  <a:ext uri="{FF2B5EF4-FFF2-40B4-BE49-F238E27FC236}">
                    <a16:creationId xmlns:a16="http://schemas.microsoft.com/office/drawing/2014/main" id="{FBE7B2BC-3A5E-EDCB-1B90-B93CB7561C2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 flipH="1">
                <a:off x="4156969" y="3941687"/>
                <a:ext cx="2723373" cy="2701690"/>
              </a:xfrm>
              <a:custGeom>
                <a:avLst/>
                <a:gdLst>
                  <a:gd name="T0" fmla="*/ 530 w 530"/>
                  <a:gd name="T1" fmla="*/ 423 h 526"/>
                  <a:gd name="T2" fmla="*/ 441 w 530"/>
                  <a:gd name="T3" fmla="*/ 222 h 526"/>
                  <a:gd name="T4" fmla="*/ 0 w 530"/>
                  <a:gd name="T5" fmla="*/ 7 h 526"/>
                  <a:gd name="T6" fmla="*/ 20 w 530"/>
                  <a:gd name="T7" fmla="*/ 526 h 526"/>
                  <a:gd name="T8" fmla="*/ 530 w 530"/>
                  <a:gd name="T9" fmla="*/ 423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0" h="526">
                    <a:moveTo>
                      <a:pt x="530" y="423"/>
                    </a:moveTo>
                    <a:cubicBezTo>
                      <a:pt x="516" y="353"/>
                      <a:pt x="486" y="284"/>
                      <a:pt x="441" y="222"/>
                    </a:cubicBezTo>
                    <a:cubicBezTo>
                      <a:pt x="336" y="75"/>
                      <a:pt x="168" y="0"/>
                      <a:pt x="0" y="7"/>
                    </a:cubicBezTo>
                    <a:cubicBezTo>
                      <a:pt x="20" y="526"/>
                      <a:pt x="20" y="526"/>
                      <a:pt x="20" y="526"/>
                    </a:cubicBezTo>
                    <a:lnTo>
                      <a:pt x="530" y="423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>
                <a:outerShdw blurRad="228600" dist="38100" dir="5400000" algn="t" rotWithShape="0">
                  <a:prstClr val="black">
                    <a:alpha val="50000"/>
                  </a:prstClr>
                </a:outerShdw>
              </a:effectLst>
            </p:spPr>
            <p:txBody>
              <a:bodyPr vert="horz" wrap="square" lIns="121544" tIns="60771" rIns="121544" bIns="60771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id-ID" sz="1733" b="1" kern="0" dirty="0">
                  <a:solidFill>
                    <a:prstClr val="black"/>
                  </a:solidFill>
                  <a:sym typeface="+mn-lt"/>
                </a:endParaRPr>
              </a:p>
            </p:txBody>
          </p:sp>
          <p:sp>
            <p:nvSpPr>
              <p:cNvPr id="40" name="Freeform 7">
                <a:extLst>
                  <a:ext uri="{FF2B5EF4-FFF2-40B4-BE49-F238E27FC236}">
                    <a16:creationId xmlns:a16="http://schemas.microsoft.com/office/drawing/2014/main" id="{2F160D0C-16E2-67A5-399C-56E5CF07A01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 flipH="1">
                <a:off x="2140459" y="2729611"/>
                <a:ext cx="3178714" cy="4813605"/>
              </a:xfrm>
              <a:custGeom>
                <a:avLst/>
                <a:gdLst>
                  <a:gd name="T0" fmla="*/ 0 w 619"/>
                  <a:gd name="T1" fmla="*/ 923 h 937"/>
                  <a:gd name="T2" fmla="*/ 579 w 619"/>
                  <a:gd name="T3" fmla="*/ 483 h 937"/>
                  <a:gd name="T4" fmla="*/ 463 w 619"/>
                  <a:gd name="T5" fmla="*/ 0 h 937"/>
                  <a:gd name="T6" fmla="*/ 29 w 619"/>
                  <a:gd name="T7" fmla="*/ 360 h 937"/>
                  <a:gd name="T8" fmla="*/ 0 w 619"/>
                  <a:gd name="T9" fmla="*/ 923 h 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9" h="937">
                    <a:moveTo>
                      <a:pt x="0" y="923"/>
                    </a:moveTo>
                    <a:cubicBezTo>
                      <a:pt x="270" y="937"/>
                      <a:pt x="518" y="755"/>
                      <a:pt x="579" y="483"/>
                    </a:cubicBezTo>
                    <a:cubicBezTo>
                      <a:pt x="619" y="306"/>
                      <a:pt x="570" y="129"/>
                      <a:pt x="463" y="0"/>
                    </a:cubicBezTo>
                    <a:cubicBezTo>
                      <a:pt x="29" y="360"/>
                      <a:pt x="29" y="360"/>
                      <a:pt x="29" y="360"/>
                    </a:cubicBezTo>
                    <a:lnTo>
                      <a:pt x="0" y="923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ffectLst>
                <a:outerShdw blurRad="228600" dist="38100" dir="2700000" algn="tl" rotWithShape="0">
                  <a:prstClr val="black">
                    <a:alpha val="23000"/>
                  </a:prstClr>
                </a:outerShdw>
              </a:effectLst>
            </p:spPr>
            <p:txBody>
              <a:bodyPr vert="horz" wrap="square" lIns="121544" tIns="60771" rIns="121544" bIns="60771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id-ID" sz="1733" b="1" kern="0" dirty="0">
                  <a:solidFill>
                    <a:prstClr val="black"/>
                  </a:solidFill>
                  <a:sym typeface="+mn-lt"/>
                </a:endParaRPr>
              </a:p>
            </p:txBody>
          </p:sp>
          <p:sp>
            <p:nvSpPr>
              <p:cNvPr id="41" name="Freeform 8">
                <a:extLst>
                  <a:ext uri="{FF2B5EF4-FFF2-40B4-BE49-F238E27FC236}">
                    <a16:creationId xmlns:a16="http://schemas.microsoft.com/office/drawing/2014/main" id="{4AA99D9C-BAE5-3EA2-8869-6DCF950B6AD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 flipH="1">
                <a:off x="938143" y="4532546"/>
                <a:ext cx="5253768" cy="5039108"/>
              </a:xfrm>
              <a:custGeom>
                <a:avLst/>
                <a:gdLst>
                  <a:gd name="T0" fmla="*/ 1023 w 1023"/>
                  <a:gd name="T1" fmla="*/ 803 h 981"/>
                  <a:gd name="T2" fmla="*/ 641 w 1023"/>
                  <a:gd name="T3" fmla="*/ 371 h 981"/>
                  <a:gd name="T4" fmla="*/ 199 w 1023"/>
                  <a:gd name="T5" fmla="*/ 0 h 981"/>
                  <a:gd name="T6" fmla="*/ 86 w 1023"/>
                  <a:gd name="T7" fmla="*/ 216 h 981"/>
                  <a:gd name="T8" fmla="*/ 486 w 1023"/>
                  <a:gd name="T9" fmla="*/ 927 h 981"/>
                  <a:gd name="T10" fmla="*/ 1023 w 1023"/>
                  <a:gd name="T11" fmla="*/ 803 h 9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3" h="981">
                    <a:moveTo>
                      <a:pt x="1023" y="803"/>
                    </a:moveTo>
                    <a:cubicBezTo>
                      <a:pt x="641" y="371"/>
                      <a:pt x="641" y="371"/>
                      <a:pt x="641" y="371"/>
                    </a:cubicBezTo>
                    <a:cubicBezTo>
                      <a:pt x="199" y="0"/>
                      <a:pt x="199" y="0"/>
                      <a:pt x="199" y="0"/>
                    </a:cubicBezTo>
                    <a:cubicBezTo>
                      <a:pt x="148" y="61"/>
                      <a:pt x="108" y="134"/>
                      <a:pt x="86" y="216"/>
                    </a:cubicBezTo>
                    <a:cubicBezTo>
                      <a:pt x="0" y="523"/>
                      <a:pt x="179" y="841"/>
                      <a:pt x="486" y="927"/>
                    </a:cubicBezTo>
                    <a:cubicBezTo>
                      <a:pt x="682" y="981"/>
                      <a:pt x="882" y="928"/>
                      <a:pt x="1023" y="803"/>
                    </a:cubicBezTo>
                    <a:close/>
                  </a:path>
                </a:pathLst>
              </a:custGeom>
              <a:ln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121544" tIns="60771" rIns="121544" bIns="60771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id-ID" sz="1733" b="1" kern="0" dirty="0">
                  <a:solidFill>
                    <a:prstClr val="black"/>
                  </a:solidFill>
                  <a:sym typeface="+mn-lt"/>
                </a:endParaRPr>
              </a:p>
            </p:txBody>
          </p:sp>
          <p:sp>
            <p:nvSpPr>
              <p:cNvPr id="42" name="TextBox 23">
                <a:extLst>
                  <a:ext uri="{FF2B5EF4-FFF2-40B4-BE49-F238E27FC236}">
                    <a16:creationId xmlns:a16="http://schemas.microsoft.com/office/drawing/2014/main" id="{91E549D8-A1D9-2A64-FE49-7D85250B6750}"/>
                  </a:ext>
                </a:extLst>
              </p:cNvPr>
              <p:cNvSpPr txBox="1"/>
              <p:nvPr/>
            </p:nvSpPr>
            <p:spPr>
              <a:xfrm>
                <a:off x="1943019" y="7031069"/>
                <a:ext cx="2353513" cy="8712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914377">
                  <a:defRPr/>
                </a:pPr>
                <a:r>
                  <a:rPr lang="ru-RU" sz="2933" b="1" kern="0" dirty="0">
                    <a:solidFill>
                      <a:prstClr val="white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rPr>
                  <a:t>31,6</a:t>
                </a:r>
                <a:r>
                  <a:rPr lang="id-ID" sz="2933" b="1" kern="0" dirty="0">
                    <a:solidFill>
                      <a:prstClr val="white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rPr>
                  <a:t>%</a:t>
                </a:r>
              </a:p>
            </p:txBody>
          </p:sp>
          <p:sp>
            <p:nvSpPr>
              <p:cNvPr id="43" name="TextBox 55">
                <a:extLst>
                  <a:ext uri="{FF2B5EF4-FFF2-40B4-BE49-F238E27FC236}">
                    <a16:creationId xmlns:a16="http://schemas.microsoft.com/office/drawing/2014/main" id="{6D1CCD5E-155A-3F5A-AC5C-82BBFED53FEE}"/>
                  </a:ext>
                </a:extLst>
              </p:cNvPr>
              <p:cNvSpPr txBox="1"/>
              <p:nvPr/>
            </p:nvSpPr>
            <p:spPr>
              <a:xfrm>
                <a:off x="4933007" y="6916310"/>
                <a:ext cx="1590585" cy="707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914377">
                  <a:defRPr/>
                </a:pPr>
                <a:r>
                  <a:rPr lang="ru-RU" sz="2267" b="1" kern="0" dirty="0">
                    <a:solidFill>
                      <a:prstClr val="white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rPr>
                  <a:t>6,5</a:t>
                </a:r>
                <a:r>
                  <a:rPr lang="id-ID" sz="2267" b="1" kern="0" dirty="0">
                    <a:solidFill>
                      <a:prstClr val="white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rPr>
                  <a:t>%</a:t>
                </a:r>
              </a:p>
            </p:txBody>
          </p:sp>
          <p:sp>
            <p:nvSpPr>
              <p:cNvPr id="44" name="TextBox 56">
                <a:extLst>
                  <a:ext uri="{FF2B5EF4-FFF2-40B4-BE49-F238E27FC236}">
                    <a16:creationId xmlns:a16="http://schemas.microsoft.com/office/drawing/2014/main" id="{DD8D24CF-5637-E2C0-6F51-969F9013CA78}"/>
                  </a:ext>
                </a:extLst>
              </p:cNvPr>
              <p:cNvSpPr txBox="1"/>
              <p:nvPr/>
            </p:nvSpPr>
            <p:spPr>
              <a:xfrm>
                <a:off x="4976556" y="5618922"/>
                <a:ext cx="1590585" cy="707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914377">
                  <a:defRPr/>
                </a:pPr>
                <a:r>
                  <a:rPr lang="ru-RU" sz="2267" b="1" kern="0" dirty="0">
                    <a:solidFill>
                      <a:prstClr val="white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rPr>
                  <a:t>7,8</a:t>
                </a:r>
                <a:r>
                  <a:rPr lang="id-ID" sz="2267" b="1" kern="0" dirty="0">
                    <a:solidFill>
                      <a:prstClr val="white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rPr>
                  <a:t>%</a:t>
                </a:r>
              </a:p>
            </p:txBody>
          </p:sp>
          <p:sp>
            <p:nvSpPr>
              <p:cNvPr id="45" name="TextBox 60">
                <a:extLst>
                  <a:ext uri="{FF2B5EF4-FFF2-40B4-BE49-F238E27FC236}">
                    <a16:creationId xmlns:a16="http://schemas.microsoft.com/office/drawing/2014/main" id="{EA49BDD9-6DDB-164C-8A47-549ACF1EEB45}"/>
                  </a:ext>
                </a:extLst>
              </p:cNvPr>
              <p:cNvSpPr txBox="1"/>
              <p:nvPr/>
            </p:nvSpPr>
            <p:spPr>
              <a:xfrm>
                <a:off x="3260595" y="4585753"/>
                <a:ext cx="1885994" cy="707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914377">
                  <a:defRPr/>
                </a:pPr>
                <a:r>
                  <a:rPr lang="en-US" sz="2267" b="1" kern="0" dirty="0">
                    <a:solidFill>
                      <a:prstClr val="white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rPr>
                  <a:t>30</a:t>
                </a:r>
                <a:r>
                  <a:rPr lang="ru-RU" sz="2267" b="1" kern="0" dirty="0">
                    <a:solidFill>
                      <a:prstClr val="white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rPr>
                  <a:t>,1</a:t>
                </a:r>
                <a:r>
                  <a:rPr lang="id-ID" sz="2267" b="1" kern="0" dirty="0">
                    <a:solidFill>
                      <a:prstClr val="white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rPr>
                  <a:t>%</a:t>
                </a:r>
              </a:p>
            </p:txBody>
          </p:sp>
        </p:grpSp>
        <p:sp>
          <p:nvSpPr>
            <p:cNvPr id="47" name="Rectangle 78">
              <a:extLst>
                <a:ext uri="{FF2B5EF4-FFF2-40B4-BE49-F238E27FC236}">
                  <a16:creationId xmlns:a16="http://schemas.microsoft.com/office/drawing/2014/main" id="{1976DF8A-5843-D4C9-45F4-83D85AA9CA35}"/>
                </a:ext>
              </a:extLst>
            </p:cNvPr>
            <p:cNvSpPr/>
            <p:nvPr/>
          </p:nvSpPr>
          <p:spPr>
            <a:xfrm>
              <a:off x="3487488" y="2643685"/>
              <a:ext cx="5477000" cy="5309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altLang="zh-CN" sz="2000" b="1" dirty="0">
                  <a:solidFill>
                    <a:schemeClr val="tx2">
                      <a:lumMod val="7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rPr>
                <a:t>Основные причины возникновения несчастных случаев</a:t>
              </a:r>
              <a:endParaRPr lang="en-US" altLang="zh-CN" sz="2000" b="1" dirty="0">
                <a:solidFill>
                  <a:schemeClr val="tx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endParaRPr>
            </a:p>
          </p:txBody>
        </p:sp>
        <p:grpSp>
          <p:nvGrpSpPr>
            <p:cNvPr id="49" name="组合 22">
              <a:extLst>
                <a:ext uri="{FF2B5EF4-FFF2-40B4-BE49-F238E27FC236}">
                  <a16:creationId xmlns:a16="http://schemas.microsoft.com/office/drawing/2014/main" id="{5AC9FD4D-F6CD-25BB-C3CD-EF75B5E468D9}"/>
                </a:ext>
              </a:extLst>
            </p:cNvPr>
            <p:cNvGrpSpPr/>
            <p:nvPr/>
          </p:nvGrpSpPr>
          <p:grpSpPr>
            <a:xfrm>
              <a:off x="3487490" y="3160050"/>
              <a:ext cx="2993230" cy="678792"/>
              <a:chOff x="4985345" y="3061276"/>
              <a:chExt cx="3990972" cy="905056"/>
            </a:xfrm>
          </p:grpSpPr>
          <p:sp>
            <p:nvSpPr>
              <p:cNvPr id="58" name="Rectangle 38">
                <a:extLst>
                  <a:ext uri="{FF2B5EF4-FFF2-40B4-BE49-F238E27FC236}">
                    <a16:creationId xmlns:a16="http://schemas.microsoft.com/office/drawing/2014/main" id="{65F0B8A0-9CA9-0426-9953-C778DF15BB69}"/>
                  </a:ext>
                </a:extLst>
              </p:cNvPr>
              <p:cNvSpPr/>
              <p:nvPr/>
            </p:nvSpPr>
            <p:spPr>
              <a:xfrm>
                <a:off x="5994851" y="3140113"/>
                <a:ext cx="2981466" cy="62568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914309">
                  <a:defRPr/>
                </a:pPr>
                <a:r>
                  <a:rPr lang="ru-RU" altLang="zh-CN" sz="1733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rPr>
                  <a:t>неудовлетворительная организация работ </a:t>
                </a:r>
                <a:endParaRPr lang="en-US" altLang="zh-CN" sz="1733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endParaRPr>
              </a:p>
            </p:txBody>
          </p:sp>
          <p:grpSp>
            <p:nvGrpSpPr>
              <p:cNvPr id="52" name="Group 32">
                <a:extLst>
                  <a:ext uri="{FF2B5EF4-FFF2-40B4-BE49-F238E27FC236}">
                    <a16:creationId xmlns:a16="http://schemas.microsoft.com/office/drawing/2014/main" id="{EDA5874E-25AD-AD12-B96A-AE9949ADE062}"/>
                  </a:ext>
                </a:extLst>
              </p:cNvPr>
              <p:cNvGrpSpPr/>
              <p:nvPr/>
            </p:nvGrpSpPr>
            <p:grpSpPr>
              <a:xfrm>
                <a:off x="4985345" y="3061276"/>
                <a:ext cx="905056" cy="905056"/>
                <a:chOff x="912987" y="3985306"/>
                <a:chExt cx="1332461" cy="1332461"/>
              </a:xfrm>
            </p:grpSpPr>
            <p:sp>
              <p:nvSpPr>
                <p:cNvPr id="54" name="Oval 33">
                  <a:extLst>
                    <a:ext uri="{FF2B5EF4-FFF2-40B4-BE49-F238E27FC236}">
                      <a16:creationId xmlns:a16="http://schemas.microsoft.com/office/drawing/2014/main" id="{46084E0A-18D9-2DB1-ECB3-3DEECE43F50E}"/>
                    </a:ext>
                  </a:extLst>
                </p:cNvPr>
                <p:cNvSpPr/>
                <p:nvPr/>
              </p:nvSpPr>
              <p:spPr>
                <a:xfrm>
                  <a:off x="912987" y="3985306"/>
                  <a:ext cx="1332461" cy="1332461"/>
                </a:xfrm>
                <a:prstGeom prst="ellipse">
                  <a:avLst/>
                </a:prstGeom>
                <a:solidFill>
                  <a:srgbClr val="595959">
                    <a:alpha val="2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77">
                    <a:defRPr/>
                  </a:pPr>
                  <a:endParaRPr lang="en-US" sz="1733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endParaRPr>
                </a:p>
              </p:txBody>
            </p:sp>
            <p:sp>
              <p:nvSpPr>
                <p:cNvPr id="55" name="Oval 34">
                  <a:extLst>
                    <a:ext uri="{FF2B5EF4-FFF2-40B4-BE49-F238E27FC236}">
                      <a16:creationId xmlns:a16="http://schemas.microsoft.com/office/drawing/2014/main" id="{4F28B401-574C-25DD-A9BA-3E7854AEC644}"/>
                    </a:ext>
                  </a:extLst>
                </p:cNvPr>
                <p:cNvSpPr/>
                <p:nvPr/>
              </p:nvSpPr>
              <p:spPr>
                <a:xfrm>
                  <a:off x="1008481" y="4080800"/>
                  <a:ext cx="1141474" cy="1141474"/>
                </a:xfrm>
                <a:prstGeom prst="ellipse">
                  <a:avLst/>
                </a:prstGeom>
                <a:solidFill>
                  <a:srgbClr val="595959">
                    <a:alpha val="3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77">
                    <a:defRPr/>
                  </a:pPr>
                  <a:endParaRPr lang="en-US" sz="1733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endParaRPr>
                </a:p>
              </p:txBody>
            </p:sp>
            <p:sp>
              <p:nvSpPr>
                <p:cNvPr id="56" name="Oval 35">
                  <a:extLst>
                    <a:ext uri="{FF2B5EF4-FFF2-40B4-BE49-F238E27FC236}">
                      <a16:creationId xmlns:a16="http://schemas.microsoft.com/office/drawing/2014/main" id="{58E344BC-12D2-3C5E-FB29-F0ECBAC110AF}"/>
                    </a:ext>
                  </a:extLst>
                </p:cNvPr>
                <p:cNvSpPr/>
                <p:nvPr/>
              </p:nvSpPr>
              <p:spPr>
                <a:xfrm>
                  <a:off x="1108900" y="4181219"/>
                  <a:ext cx="940635" cy="940635"/>
                </a:xfrm>
                <a:prstGeom prst="ellipse">
                  <a:avLst/>
                </a:pr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377">
                    <a:defRPr/>
                  </a:pPr>
                  <a:endParaRPr lang="en-US" sz="2800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endParaRPr>
                </a:p>
              </p:txBody>
            </p:sp>
          </p:grpSp>
        </p:grpSp>
        <p:grpSp>
          <p:nvGrpSpPr>
            <p:cNvPr id="59" name="组合 32">
              <a:extLst>
                <a:ext uri="{FF2B5EF4-FFF2-40B4-BE49-F238E27FC236}">
                  <a16:creationId xmlns:a16="http://schemas.microsoft.com/office/drawing/2014/main" id="{F23345FF-700B-B38B-CDED-EE3893E748F3}"/>
                </a:ext>
              </a:extLst>
            </p:cNvPr>
            <p:cNvGrpSpPr/>
            <p:nvPr/>
          </p:nvGrpSpPr>
          <p:grpSpPr>
            <a:xfrm>
              <a:off x="6264696" y="4183509"/>
              <a:ext cx="2464690" cy="690121"/>
              <a:chOff x="8234500" y="4299280"/>
              <a:chExt cx="3286253" cy="920162"/>
            </a:xfrm>
          </p:grpSpPr>
          <p:sp>
            <p:nvSpPr>
              <p:cNvPr id="68" name="Rectangle 77">
                <a:extLst>
                  <a:ext uri="{FF2B5EF4-FFF2-40B4-BE49-F238E27FC236}">
                    <a16:creationId xmlns:a16="http://schemas.microsoft.com/office/drawing/2014/main" id="{CBFB0970-4D3B-9224-0EAA-2131DE01A835}"/>
                  </a:ext>
                </a:extLst>
              </p:cNvPr>
              <p:cNvSpPr/>
              <p:nvPr/>
            </p:nvSpPr>
            <p:spPr>
              <a:xfrm>
                <a:off x="9244009" y="4299280"/>
                <a:ext cx="2276744" cy="8923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914309">
                  <a:defRPr/>
                </a:pPr>
                <a:r>
                  <a:rPr lang="ru-RU" altLang="zh-CN" sz="1733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rPr>
                  <a:t>нарушение правил безопасности и охраны труда </a:t>
                </a:r>
                <a:endParaRPr lang="en-US" altLang="zh-CN" sz="1733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endParaRPr>
              </a:p>
            </p:txBody>
          </p:sp>
          <p:grpSp>
            <p:nvGrpSpPr>
              <p:cNvPr id="62" name="Group 53">
                <a:extLst>
                  <a:ext uri="{FF2B5EF4-FFF2-40B4-BE49-F238E27FC236}">
                    <a16:creationId xmlns:a16="http://schemas.microsoft.com/office/drawing/2014/main" id="{C1721123-1D81-07EF-FBA3-E6459DD4EE97}"/>
                  </a:ext>
                </a:extLst>
              </p:cNvPr>
              <p:cNvGrpSpPr/>
              <p:nvPr/>
            </p:nvGrpSpPr>
            <p:grpSpPr>
              <a:xfrm>
                <a:off x="8234500" y="4314385"/>
                <a:ext cx="905056" cy="905057"/>
                <a:chOff x="912987" y="3985306"/>
                <a:chExt cx="1332461" cy="1332461"/>
              </a:xfrm>
            </p:grpSpPr>
            <p:sp>
              <p:nvSpPr>
                <p:cNvPr id="64" name="Oval 54">
                  <a:extLst>
                    <a:ext uri="{FF2B5EF4-FFF2-40B4-BE49-F238E27FC236}">
                      <a16:creationId xmlns:a16="http://schemas.microsoft.com/office/drawing/2014/main" id="{6B94C20C-FFD4-7F2C-CE47-E931B38B05E2}"/>
                    </a:ext>
                  </a:extLst>
                </p:cNvPr>
                <p:cNvSpPr/>
                <p:nvPr/>
              </p:nvSpPr>
              <p:spPr>
                <a:xfrm>
                  <a:off x="912987" y="3985306"/>
                  <a:ext cx="1332461" cy="1332461"/>
                </a:xfrm>
                <a:prstGeom prst="ellipse">
                  <a:avLst/>
                </a:prstGeom>
                <a:solidFill>
                  <a:srgbClr val="595959">
                    <a:alpha val="2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77">
                    <a:defRPr/>
                  </a:pPr>
                  <a:endParaRPr lang="en-US" sz="1733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endParaRPr>
                </a:p>
              </p:txBody>
            </p:sp>
            <p:sp>
              <p:nvSpPr>
                <p:cNvPr id="65" name="Oval 57">
                  <a:extLst>
                    <a:ext uri="{FF2B5EF4-FFF2-40B4-BE49-F238E27FC236}">
                      <a16:creationId xmlns:a16="http://schemas.microsoft.com/office/drawing/2014/main" id="{B770A9F0-CDE6-45B8-AF74-99A2DACD086A}"/>
                    </a:ext>
                  </a:extLst>
                </p:cNvPr>
                <p:cNvSpPr/>
                <p:nvPr/>
              </p:nvSpPr>
              <p:spPr>
                <a:xfrm>
                  <a:off x="1008481" y="4080800"/>
                  <a:ext cx="1141474" cy="1141474"/>
                </a:xfrm>
                <a:prstGeom prst="ellipse">
                  <a:avLst/>
                </a:prstGeom>
                <a:solidFill>
                  <a:srgbClr val="595959">
                    <a:alpha val="3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77">
                    <a:defRPr/>
                  </a:pPr>
                  <a:endParaRPr lang="en-US" sz="1733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endParaRPr>
                </a:p>
              </p:txBody>
            </p:sp>
            <p:sp>
              <p:nvSpPr>
                <p:cNvPr id="66" name="Oval 58">
                  <a:extLst>
                    <a:ext uri="{FF2B5EF4-FFF2-40B4-BE49-F238E27FC236}">
                      <a16:creationId xmlns:a16="http://schemas.microsoft.com/office/drawing/2014/main" id="{F02FD843-7C18-9B28-4099-7C03705733BF}"/>
                    </a:ext>
                  </a:extLst>
                </p:cNvPr>
                <p:cNvSpPr/>
                <p:nvPr/>
              </p:nvSpPr>
              <p:spPr>
                <a:xfrm>
                  <a:off x="1108900" y="4181219"/>
                  <a:ext cx="940635" cy="940635"/>
                </a:xfrm>
                <a:prstGeom prst="ellipse">
                  <a:avLst/>
                </a:prstGeom>
                <a:solidFill>
                  <a:schemeClr val="accent6">
                    <a:lumMod val="50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77">
                    <a:defRPr/>
                  </a:pPr>
                  <a:endParaRPr lang="en-US" sz="2800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endParaRPr>
                </a:p>
              </p:txBody>
            </p:sp>
          </p:grpSp>
        </p:grpSp>
        <p:grpSp>
          <p:nvGrpSpPr>
            <p:cNvPr id="69" name="组合 42">
              <a:extLst>
                <a:ext uri="{FF2B5EF4-FFF2-40B4-BE49-F238E27FC236}">
                  <a16:creationId xmlns:a16="http://schemas.microsoft.com/office/drawing/2014/main" id="{E38FFE39-C571-A42D-A71D-4439F1ADC1DC}"/>
                </a:ext>
              </a:extLst>
            </p:cNvPr>
            <p:cNvGrpSpPr/>
            <p:nvPr/>
          </p:nvGrpSpPr>
          <p:grpSpPr>
            <a:xfrm>
              <a:off x="6264696" y="3147814"/>
              <a:ext cx="2627784" cy="691030"/>
              <a:chOff x="8234500" y="3044959"/>
              <a:chExt cx="3503712" cy="921373"/>
            </a:xfrm>
          </p:grpSpPr>
          <p:sp>
            <p:nvSpPr>
              <p:cNvPr id="78" name="Rectangle 52">
                <a:extLst>
                  <a:ext uri="{FF2B5EF4-FFF2-40B4-BE49-F238E27FC236}">
                    <a16:creationId xmlns:a16="http://schemas.microsoft.com/office/drawing/2014/main" id="{534949A9-7C3B-CF08-ABBE-B1345983F439}"/>
                  </a:ext>
                </a:extLst>
              </p:cNvPr>
              <p:cNvSpPr/>
              <p:nvPr/>
            </p:nvSpPr>
            <p:spPr>
              <a:xfrm>
                <a:off x="9244009" y="3044959"/>
                <a:ext cx="2494203" cy="89235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914309">
                  <a:defRPr/>
                </a:pPr>
                <a:r>
                  <a:rPr lang="ru-RU" altLang="zh-CN" sz="1733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rPr>
                  <a:t>нарушение правил автодорожного движения </a:t>
                </a:r>
                <a:endParaRPr lang="en-US" altLang="zh-CN" sz="1733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endParaRPr>
              </a:p>
            </p:txBody>
          </p:sp>
          <p:grpSp>
            <p:nvGrpSpPr>
              <p:cNvPr id="72" name="Group 46">
                <a:extLst>
                  <a:ext uri="{FF2B5EF4-FFF2-40B4-BE49-F238E27FC236}">
                    <a16:creationId xmlns:a16="http://schemas.microsoft.com/office/drawing/2014/main" id="{2B4CA8C3-1B7F-B750-DA75-AC7A71D160F5}"/>
                  </a:ext>
                </a:extLst>
              </p:cNvPr>
              <p:cNvGrpSpPr/>
              <p:nvPr/>
            </p:nvGrpSpPr>
            <p:grpSpPr>
              <a:xfrm>
                <a:off x="8234500" y="3061276"/>
                <a:ext cx="905056" cy="905056"/>
                <a:chOff x="912987" y="3985306"/>
                <a:chExt cx="1332461" cy="1332461"/>
              </a:xfrm>
            </p:grpSpPr>
            <p:sp>
              <p:nvSpPr>
                <p:cNvPr id="74" name="Oval 40">
                  <a:extLst>
                    <a:ext uri="{FF2B5EF4-FFF2-40B4-BE49-F238E27FC236}">
                      <a16:creationId xmlns:a16="http://schemas.microsoft.com/office/drawing/2014/main" id="{35A0C97C-BFCC-A5B8-6A70-C18BDE261613}"/>
                    </a:ext>
                  </a:extLst>
                </p:cNvPr>
                <p:cNvSpPr/>
                <p:nvPr/>
              </p:nvSpPr>
              <p:spPr>
                <a:xfrm>
                  <a:off x="912987" y="3985306"/>
                  <a:ext cx="1332461" cy="1332461"/>
                </a:xfrm>
                <a:prstGeom prst="ellipse">
                  <a:avLst/>
                </a:prstGeom>
                <a:solidFill>
                  <a:srgbClr val="7F7F7F">
                    <a:alpha val="2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77">
                    <a:defRPr/>
                  </a:pPr>
                  <a:endParaRPr lang="en-US" sz="1733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endParaRPr>
                </a:p>
              </p:txBody>
            </p:sp>
            <p:sp>
              <p:nvSpPr>
                <p:cNvPr id="75" name="Oval 41">
                  <a:extLst>
                    <a:ext uri="{FF2B5EF4-FFF2-40B4-BE49-F238E27FC236}">
                      <a16:creationId xmlns:a16="http://schemas.microsoft.com/office/drawing/2014/main" id="{F6D820AC-B002-B1DE-CFA2-49AABE858283}"/>
                    </a:ext>
                  </a:extLst>
                </p:cNvPr>
                <p:cNvSpPr/>
                <p:nvPr/>
              </p:nvSpPr>
              <p:spPr>
                <a:xfrm>
                  <a:off x="1008481" y="4080800"/>
                  <a:ext cx="1141474" cy="1141474"/>
                </a:xfrm>
                <a:prstGeom prst="ellipse">
                  <a:avLst/>
                </a:prstGeom>
                <a:solidFill>
                  <a:srgbClr val="7F7F7F">
                    <a:alpha val="3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77">
                    <a:defRPr/>
                  </a:pPr>
                  <a:endParaRPr lang="en-US" sz="1733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endParaRPr>
                </a:p>
              </p:txBody>
            </p:sp>
            <p:sp>
              <p:nvSpPr>
                <p:cNvPr id="76" name="Oval 42">
                  <a:extLst>
                    <a:ext uri="{FF2B5EF4-FFF2-40B4-BE49-F238E27FC236}">
                      <a16:creationId xmlns:a16="http://schemas.microsoft.com/office/drawing/2014/main" id="{050C5411-429B-5578-8278-FFF7A69BD233}"/>
                    </a:ext>
                  </a:extLst>
                </p:cNvPr>
                <p:cNvSpPr/>
                <p:nvPr/>
              </p:nvSpPr>
              <p:spPr>
                <a:xfrm>
                  <a:off x="1108900" y="4181219"/>
                  <a:ext cx="940635" cy="940635"/>
                </a:xfrm>
                <a:prstGeom prst="ellipse">
                  <a:avLst/>
                </a:prstGeom>
                <a:solidFill>
                  <a:schemeClr val="accent4">
                    <a:lumMod val="7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77">
                    <a:defRPr/>
                  </a:pPr>
                  <a:endParaRPr lang="en-US" sz="2800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endParaRPr>
                </a:p>
              </p:txBody>
            </p:sp>
          </p:grpSp>
        </p:grpSp>
        <p:grpSp>
          <p:nvGrpSpPr>
            <p:cNvPr id="79" name="组合 52">
              <a:extLst>
                <a:ext uri="{FF2B5EF4-FFF2-40B4-BE49-F238E27FC236}">
                  <a16:creationId xmlns:a16="http://schemas.microsoft.com/office/drawing/2014/main" id="{B5074945-81A4-046C-7D98-E6CF67089590}"/>
                </a:ext>
              </a:extLst>
            </p:cNvPr>
            <p:cNvGrpSpPr/>
            <p:nvPr/>
          </p:nvGrpSpPr>
          <p:grpSpPr>
            <a:xfrm>
              <a:off x="3487489" y="4194841"/>
              <a:ext cx="2825854" cy="678792"/>
              <a:chOff x="4985345" y="4314386"/>
              <a:chExt cx="3767805" cy="905056"/>
            </a:xfrm>
          </p:grpSpPr>
          <p:sp>
            <p:nvSpPr>
              <p:cNvPr id="88" name="Rectangle 45">
                <a:extLst>
                  <a:ext uri="{FF2B5EF4-FFF2-40B4-BE49-F238E27FC236}">
                    <a16:creationId xmlns:a16="http://schemas.microsoft.com/office/drawing/2014/main" id="{85906B0A-EB8A-6A84-02C6-B89304356A4C}"/>
                  </a:ext>
                </a:extLst>
              </p:cNvPr>
              <p:cNvSpPr/>
              <p:nvPr/>
            </p:nvSpPr>
            <p:spPr>
              <a:xfrm>
                <a:off x="5994852" y="4454521"/>
                <a:ext cx="2758298" cy="62568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914309">
                  <a:defRPr/>
                </a:pPr>
                <a:r>
                  <a:rPr lang="ru-RU" altLang="zh-CN" sz="1733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rPr>
                  <a:t>грубая неосторожность самого пострадавшего </a:t>
                </a:r>
                <a:endParaRPr lang="en-US" altLang="zh-CN" sz="1733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+mn-lt"/>
                </a:endParaRPr>
              </a:p>
            </p:txBody>
          </p:sp>
          <p:grpSp>
            <p:nvGrpSpPr>
              <p:cNvPr id="82" name="Group 39">
                <a:extLst>
                  <a:ext uri="{FF2B5EF4-FFF2-40B4-BE49-F238E27FC236}">
                    <a16:creationId xmlns:a16="http://schemas.microsoft.com/office/drawing/2014/main" id="{4F8CA441-D02E-ABEF-E43D-BD49EAB4CB28}"/>
                  </a:ext>
                </a:extLst>
              </p:cNvPr>
              <p:cNvGrpSpPr/>
              <p:nvPr/>
            </p:nvGrpSpPr>
            <p:grpSpPr>
              <a:xfrm>
                <a:off x="4985345" y="4314386"/>
                <a:ext cx="905056" cy="905056"/>
                <a:chOff x="912987" y="3985306"/>
                <a:chExt cx="1332461" cy="1332461"/>
              </a:xfrm>
            </p:grpSpPr>
            <p:sp>
              <p:nvSpPr>
                <p:cNvPr id="84" name="Oval 40">
                  <a:extLst>
                    <a:ext uri="{FF2B5EF4-FFF2-40B4-BE49-F238E27FC236}">
                      <a16:creationId xmlns:a16="http://schemas.microsoft.com/office/drawing/2014/main" id="{01FF699F-CA8D-F62B-7AF7-EA2F544FAD86}"/>
                    </a:ext>
                  </a:extLst>
                </p:cNvPr>
                <p:cNvSpPr/>
                <p:nvPr/>
              </p:nvSpPr>
              <p:spPr>
                <a:xfrm>
                  <a:off x="912987" y="3985306"/>
                  <a:ext cx="1332461" cy="1332461"/>
                </a:xfrm>
                <a:prstGeom prst="ellipse">
                  <a:avLst/>
                </a:prstGeom>
                <a:solidFill>
                  <a:srgbClr val="7F7F7F">
                    <a:alpha val="20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77">
                    <a:defRPr/>
                  </a:pPr>
                  <a:endParaRPr lang="en-US" sz="1733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endParaRPr>
                </a:p>
              </p:txBody>
            </p:sp>
            <p:sp>
              <p:nvSpPr>
                <p:cNvPr id="85" name="Oval 41">
                  <a:extLst>
                    <a:ext uri="{FF2B5EF4-FFF2-40B4-BE49-F238E27FC236}">
                      <a16:creationId xmlns:a16="http://schemas.microsoft.com/office/drawing/2014/main" id="{DEAB5216-D462-D1F2-EDDC-1C384843D30F}"/>
                    </a:ext>
                  </a:extLst>
                </p:cNvPr>
                <p:cNvSpPr/>
                <p:nvPr/>
              </p:nvSpPr>
              <p:spPr>
                <a:xfrm>
                  <a:off x="1008481" y="4080800"/>
                  <a:ext cx="1141474" cy="1141474"/>
                </a:xfrm>
                <a:prstGeom prst="ellipse">
                  <a:avLst/>
                </a:prstGeom>
                <a:solidFill>
                  <a:srgbClr val="7F7F7F">
                    <a:alpha val="3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77">
                    <a:defRPr/>
                  </a:pPr>
                  <a:endParaRPr lang="en-US" sz="1733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endParaRPr>
                </a:p>
              </p:txBody>
            </p:sp>
            <p:sp>
              <p:nvSpPr>
                <p:cNvPr id="86" name="Oval 42">
                  <a:extLst>
                    <a:ext uri="{FF2B5EF4-FFF2-40B4-BE49-F238E27FC236}">
                      <a16:creationId xmlns:a16="http://schemas.microsoft.com/office/drawing/2014/main" id="{0A5A2670-094E-42AD-CF60-F5F2749B7512}"/>
                    </a:ext>
                  </a:extLst>
                </p:cNvPr>
                <p:cNvSpPr/>
                <p:nvPr/>
              </p:nvSpPr>
              <p:spPr>
                <a:xfrm>
                  <a:off x="1108900" y="4181219"/>
                  <a:ext cx="940635" cy="940635"/>
                </a:xfrm>
                <a:prstGeom prst="ellipse">
                  <a:avLst/>
                </a:prstGeom>
                <a:solidFill>
                  <a:srgbClr val="FFC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77">
                    <a:defRPr/>
                  </a:pPr>
                  <a:endParaRPr lang="en-US" sz="2800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+mn-lt"/>
                  </a:endParaRPr>
                </a:p>
              </p:txBody>
            </p:sp>
          </p:grpSp>
        </p:grpSp>
      </p:grp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49806D0-CFB9-484C-834F-14E0808F20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216" y="5271881"/>
            <a:ext cx="558848" cy="467400"/>
          </a:xfrm>
          <a:prstGeom prst="rect">
            <a:avLst/>
          </a:prstGeom>
        </p:spPr>
      </p:pic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4880006B-77D9-65A6-92EF-7DA294348AFD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942064" y="5505581"/>
            <a:ext cx="1072255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54CE05D-A908-D23B-C0EE-B8B50F12B4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8048" y="5295433"/>
            <a:ext cx="518205" cy="45724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0D42AFB-140D-CB49-06A4-EE45BE506B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5346" y="5287123"/>
            <a:ext cx="538527" cy="436917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E480465-5C39-D614-5D3B-0CA78A00E2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4486" y="5275113"/>
            <a:ext cx="609653" cy="477561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E6B5726E-AC13-E5EA-C534-CE55D46565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76321" y="5336077"/>
            <a:ext cx="508044" cy="375952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C497F27B-937A-8780-4087-64D842EE23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95077" y="5253203"/>
            <a:ext cx="538527" cy="426757"/>
          </a:xfrm>
          <a:prstGeom prst="rect">
            <a:avLst/>
          </a:prstGeom>
        </p:spPr>
      </p:pic>
      <p:sp>
        <p:nvSpPr>
          <p:cNvPr id="18" name="Rectangle 38">
            <a:extLst>
              <a:ext uri="{FF2B5EF4-FFF2-40B4-BE49-F238E27FC236}">
                <a16:creationId xmlns:a16="http://schemas.microsoft.com/office/drawing/2014/main" id="{174435D3-0423-CA8A-D75D-C3F36A68AEB3}"/>
              </a:ext>
            </a:extLst>
          </p:cNvPr>
          <p:cNvSpPr/>
          <p:nvPr/>
        </p:nvSpPr>
        <p:spPr>
          <a:xfrm>
            <a:off x="89330" y="5733257"/>
            <a:ext cx="2059417" cy="9130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09">
              <a:defRPr/>
            </a:pPr>
            <a:r>
              <a:rPr lang="ru-RU" altLang="zh-CN" sz="1733" b="1" dirty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18 % </a:t>
            </a:r>
          </a:p>
          <a:p>
            <a:pPr defTabSz="914309">
              <a:defRPr/>
            </a:pPr>
            <a:r>
              <a:rPr lang="ru-RU" altLang="zh-CN" sz="1200" b="1" dirty="0" err="1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горно</a:t>
            </a:r>
            <a:r>
              <a:rPr lang="ru-RU" altLang="zh-CN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-металлургический комплекс</a:t>
            </a:r>
          </a:p>
        </p:txBody>
      </p:sp>
      <p:sp>
        <p:nvSpPr>
          <p:cNvPr id="21" name="Rectangle 38">
            <a:extLst>
              <a:ext uri="{FF2B5EF4-FFF2-40B4-BE49-F238E27FC236}">
                <a16:creationId xmlns:a16="http://schemas.microsoft.com/office/drawing/2014/main" id="{94AF336B-3E72-9DE4-728C-ED3F82409D73}"/>
              </a:ext>
            </a:extLst>
          </p:cNvPr>
          <p:cNvSpPr/>
          <p:nvPr/>
        </p:nvSpPr>
        <p:spPr>
          <a:xfrm>
            <a:off x="2083467" y="5733256"/>
            <a:ext cx="7146875" cy="625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09">
              <a:defRPr/>
            </a:pPr>
            <a:r>
              <a:rPr lang="ru-RU" altLang="zh-CN" sz="1733" b="1" dirty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9 % </a:t>
            </a:r>
          </a:p>
          <a:p>
            <a:pPr defTabSz="914309">
              <a:defRPr/>
            </a:pPr>
            <a:r>
              <a:rPr lang="ru-RU" altLang="zh-CN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строительство</a:t>
            </a:r>
            <a:r>
              <a:rPr lang="ru-RU" altLang="zh-CN" sz="1733" b="1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 </a:t>
            </a:r>
          </a:p>
        </p:txBody>
      </p:sp>
      <p:sp>
        <p:nvSpPr>
          <p:cNvPr id="22" name="Rectangle 38">
            <a:extLst>
              <a:ext uri="{FF2B5EF4-FFF2-40B4-BE49-F238E27FC236}">
                <a16:creationId xmlns:a16="http://schemas.microsoft.com/office/drawing/2014/main" id="{13F6B851-4A09-DC5F-B4CD-8C72570426A6}"/>
              </a:ext>
            </a:extLst>
          </p:cNvPr>
          <p:cNvSpPr/>
          <p:nvPr/>
        </p:nvSpPr>
        <p:spPr>
          <a:xfrm>
            <a:off x="4304919" y="5761921"/>
            <a:ext cx="7146875" cy="7283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09">
              <a:defRPr/>
            </a:pPr>
            <a:r>
              <a:rPr lang="ru-RU" altLang="zh-CN" sz="1733" b="1" dirty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6 %</a:t>
            </a:r>
            <a:r>
              <a:rPr lang="ru-RU" altLang="zh-CN" sz="1733" b="1" dirty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 </a:t>
            </a:r>
          </a:p>
          <a:p>
            <a:pPr defTabSz="914309">
              <a:defRPr/>
            </a:pPr>
            <a:r>
              <a:rPr lang="ru-RU" altLang="zh-CN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нефтегазовая </a:t>
            </a:r>
          </a:p>
          <a:p>
            <a:pPr defTabSz="914309">
              <a:defRPr/>
            </a:pPr>
            <a:r>
              <a:rPr lang="ru-RU" altLang="zh-CN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отрасль </a:t>
            </a:r>
          </a:p>
        </p:txBody>
      </p:sp>
      <p:sp>
        <p:nvSpPr>
          <p:cNvPr id="23" name="Rectangle 38">
            <a:extLst>
              <a:ext uri="{FF2B5EF4-FFF2-40B4-BE49-F238E27FC236}">
                <a16:creationId xmlns:a16="http://schemas.microsoft.com/office/drawing/2014/main" id="{21DAC91B-4045-2514-B054-A73CCD45A001}"/>
              </a:ext>
            </a:extLst>
          </p:cNvPr>
          <p:cNvSpPr/>
          <p:nvPr/>
        </p:nvSpPr>
        <p:spPr>
          <a:xfrm>
            <a:off x="6639340" y="5733257"/>
            <a:ext cx="7146875" cy="9130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09">
              <a:defRPr/>
            </a:pPr>
            <a:r>
              <a:rPr lang="ru-RU" altLang="zh-CN" sz="1733" b="1" dirty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5,5 %</a:t>
            </a:r>
            <a:r>
              <a:rPr lang="ru-RU" altLang="zh-CN" sz="1733" b="1" dirty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 </a:t>
            </a:r>
          </a:p>
          <a:p>
            <a:pPr defTabSz="914309">
              <a:defRPr/>
            </a:pPr>
            <a:r>
              <a:rPr lang="ru-RU" altLang="zh-CN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энергетическая </a:t>
            </a:r>
          </a:p>
          <a:p>
            <a:pPr defTabSz="914309">
              <a:defRPr/>
            </a:pPr>
            <a:r>
              <a:rPr lang="ru-RU" altLang="zh-CN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и химическая </a:t>
            </a:r>
          </a:p>
          <a:p>
            <a:pPr defTabSz="914309">
              <a:defRPr/>
            </a:pPr>
            <a:r>
              <a:rPr lang="ru-RU" altLang="zh-CN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отрасль </a:t>
            </a:r>
          </a:p>
        </p:txBody>
      </p:sp>
      <p:sp>
        <p:nvSpPr>
          <p:cNvPr id="24" name="Rectangle 38">
            <a:extLst>
              <a:ext uri="{FF2B5EF4-FFF2-40B4-BE49-F238E27FC236}">
                <a16:creationId xmlns:a16="http://schemas.microsoft.com/office/drawing/2014/main" id="{2E7996D9-6C75-B3FE-21E0-3C9069D8A0D6}"/>
              </a:ext>
            </a:extLst>
          </p:cNvPr>
          <p:cNvSpPr/>
          <p:nvPr/>
        </p:nvSpPr>
        <p:spPr>
          <a:xfrm>
            <a:off x="8808059" y="5733257"/>
            <a:ext cx="7146875" cy="7283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09">
              <a:defRPr/>
            </a:pPr>
            <a:r>
              <a:rPr lang="ru-RU" altLang="zh-CN" sz="1733" b="1" dirty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5,5 %</a:t>
            </a:r>
          </a:p>
          <a:p>
            <a:pPr defTabSz="914309">
              <a:defRPr/>
            </a:pPr>
            <a:r>
              <a:rPr lang="ru-RU" altLang="zh-CN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транспортная </a:t>
            </a:r>
          </a:p>
          <a:p>
            <a:pPr defTabSz="914309">
              <a:defRPr/>
            </a:pPr>
            <a:r>
              <a:rPr lang="ru-RU" altLang="zh-CN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отрасль </a:t>
            </a:r>
          </a:p>
        </p:txBody>
      </p:sp>
      <p:sp>
        <p:nvSpPr>
          <p:cNvPr id="25" name="Rectangle 38">
            <a:extLst>
              <a:ext uri="{FF2B5EF4-FFF2-40B4-BE49-F238E27FC236}">
                <a16:creationId xmlns:a16="http://schemas.microsoft.com/office/drawing/2014/main" id="{8EAF96CF-0ABC-4548-4E81-E890ED0351D7}"/>
              </a:ext>
            </a:extLst>
          </p:cNvPr>
          <p:cNvSpPr/>
          <p:nvPr/>
        </p:nvSpPr>
        <p:spPr>
          <a:xfrm>
            <a:off x="10896534" y="5733257"/>
            <a:ext cx="7392821" cy="7283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09">
              <a:defRPr/>
            </a:pPr>
            <a:r>
              <a:rPr lang="ru-RU" altLang="zh-CN" sz="1733" b="1" dirty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2,7 % </a:t>
            </a:r>
          </a:p>
          <a:p>
            <a:pPr defTabSz="914309">
              <a:defRPr/>
            </a:pPr>
            <a:r>
              <a:rPr lang="ru-RU" altLang="zh-CN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сельское </a:t>
            </a:r>
          </a:p>
          <a:p>
            <a:pPr defTabSz="914309">
              <a:defRPr/>
            </a:pPr>
            <a:r>
              <a:rPr lang="ru-RU" altLang="zh-CN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хозяйство</a:t>
            </a:r>
            <a:endParaRPr lang="en-US" altLang="zh-CN" sz="1200" b="1" dirty="0">
              <a:solidFill>
                <a:prstClr val="black">
                  <a:lumMod val="65000"/>
                  <a:lumOff val="3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  <a:sym typeface="+mn-lt"/>
            </a:endParaRPr>
          </a:p>
        </p:txBody>
      </p:sp>
      <p:sp>
        <p:nvSpPr>
          <p:cNvPr id="26" name="Rectangle 78">
            <a:extLst>
              <a:ext uri="{FF2B5EF4-FFF2-40B4-BE49-F238E27FC236}">
                <a16:creationId xmlns:a16="http://schemas.microsoft.com/office/drawing/2014/main" id="{BD3F51B1-802A-16B6-2E03-F248FCEAC143}"/>
              </a:ext>
            </a:extLst>
          </p:cNvPr>
          <p:cNvSpPr/>
          <p:nvPr/>
        </p:nvSpPr>
        <p:spPr>
          <a:xfrm>
            <a:off x="239349" y="4342835"/>
            <a:ext cx="71775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zh-CN" sz="2000" b="1" dirty="0">
                <a:solidFill>
                  <a:schemeClr val="tx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Отрасли</a:t>
            </a:r>
            <a:r>
              <a:rPr lang="kk-KZ" altLang="zh-CN" sz="2000" b="1" dirty="0">
                <a:solidFill>
                  <a:schemeClr val="tx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+mn-lt"/>
              </a:rPr>
              <a:t>, где произошли несчастные случаи</a:t>
            </a:r>
            <a:endParaRPr lang="ru-RU" altLang="zh-CN" sz="2000" b="1" dirty="0">
              <a:solidFill>
                <a:schemeClr val="tx2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BACECFC-92EE-EEB6-FEFA-79BE07E23C19}"/>
              </a:ext>
            </a:extLst>
          </p:cNvPr>
          <p:cNvSpPr txBox="1"/>
          <p:nvPr/>
        </p:nvSpPr>
        <p:spPr>
          <a:xfrm>
            <a:off x="11770993" y="6488668"/>
            <a:ext cx="407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KZ" sz="1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1379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object 22">
            <a:extLst>
              <a:ext uri="{FF2B5EF4-FFF2-40B4-BE49-F238E27FC236}">
                <a16:creationId xmlns:a16="http://schemas.microsoft.com/office/drawing/2014/main" id="{33FA789F-CA85-F3DB-16DA-9A191AC8843D}"/>
              </a:ext>
            </a:extLst>
          </p:cNvPr>
          <p:cNvSpPr txBox="1"/>
          <p:nvPr/>
        </p:nvSpPr>
        <p:spPr>
          <a:xfrm>
            <a:off x="437773" y="546890"/>
            <a:ext cx="5370195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600" b="1" spc="-11" dirty="0">
                <a:solidFill>
                  <a:srgbClr val="001F5F"/>
                </a:solidFill>
                <a:latin typeface="Arial"/>
                <a:cs typeface="Arial"/>
              </a:rPr>
              <a:t>Хронические</a:t>
            </a:r>
            <a:r>
              <a:rPr sz="1600" b="1" spc="-71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600" b="1" spc="-11" dirty="0">
                <a:solidFill>
                  <a:srgbClr val="001F5F"/>
                </a:solidFill>
                <a:latin typeface="Arial"/>
                <a:cs typeface="Arial"/>
              </a:rPr>
              <a:t>профессиональные</a:t>
            </a:r>
            <a:r>
              <a:rPr sz="1600" b="1" spc="-3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600" b="1" spc="-11" dirty="0">
                <a:solidFill>
                  <a:srgbClr val="001F5F"/>
                </a:solidFill>
                <a:latin typeface="Arial"/>
                <a:cs typeface="Arial"/>
              </a:rPr>
              <a:t>заболевания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54" name="object 35">
            <a:extLst>
              <a:ext uri="{FF2B5EF4-FFF2-40B4-BE49-F238E27FC236}">
                <a16:creationId xmlns:a16="http://schemas.microsoft.com/office/drawing/2014/main" id="{3D0B924B-DEE3-A440-9FB7-8213964E9F80}"/>
              </a:ext>
            </a:extLst>
          </p:cNvPr>
          <p:cNvSpPr txBox="1"/>
          <p:nvPr/>
        </p:nvSpPr>
        <p:spPr>
          <a:xfrm>
            <a:off x="592314" y="4877612"/>
            <a:ext cx="385889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i="1" dirty="0">
                <a:solidFill>
                  <a:srgbClr val="1F3863"/>
                </a:solidFill>
                <a:latin typeface="Arial"/>
                <a:cs typeface="Arial"/>
              </a:rPr>
              <a:t>Острые</a:t>
            </a:r>
            <a:r>
              <a:rPr sz="1200" b="1" i="1" spc="-5" dirty="0">
                <a:solidFill>
                  <a:srgbClr val="1F3863"/>
                </a:solidFill>
                <a:latin typeface="Arial"/>
                <a:cs typeface="Arial"/>
              </a:rPr>
              <a:t> </a:t>
            </a:r>
            <a:r>
              <a:rPr sz="1200" b="1" i="1" spc="-11" dirty="0">
                <a:solidFill>
                  <a:srgbClr val="1F3863"/>
                </a:solidFill>
                <a:latin typeface="Arial"/>
                <a:cs typeface="Arial"/>
              </a:rPr>
              <a:t>профессиональные</a:t>
            </a:r>
            <a:r>
              <a:rPr sz="1200" b="1" i="1" spc="-5" dirty="0">
                <a:solidFill>
                  <a:srgbClr val="1F3863"/>
                </a:solidFill>
                <a:latin typeface="Arial"/>
                <a:cs typeface="Arial"/>
              </a:rPr>
              <a:t> </a:t>
            </a:r>
            <a:r>
              <a:rPr sz="1200" b="1" i="1" spc="-11" dirty="0">
                <a:solidFill>
                  <a:srgbClr val="C00000"/>
                </a:solidFill>
                <a:latin typeface="Arial"/>
                <a:cs typeface="Arial"/>
              </a:rPr>
              <a:t>заболевания</a:t>
            </a:r>
            <a:r>
              <a:rPr sz="1200" b="1" i="1" spc="-11" dirty="0">
                <a:solidFill>
                  <a:srgbClr val="1F3863"/>
                </a:solidFill>
                <a:latin typeface="Arial"/>
                <a:cs typeface="Arial"/>
              </a:rPr>
              <a:t>: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55" name="object 36">
            <a:extLst>
              <a:ext uri="{FF2B5EF4-FFF2-40B4-BE49-F238E27FC236}">
                <a16:creationId xmlns:a16="http://schemas.microsoft.com/office/drawing/2014/main" id="{73103400-DFC4-A28C-31AF-B279FD5F846D}"/>
              </a:ext>
            </a:extLst>
          </p:cNvPr>
          <p:cNvSpPr txBox="1"/>
          <p:nvPr/>
        </p:nvSpPr>
        <p:spPr>
          <a:xfrm>
            <a:off x="592314" y="5129770"/>
            <a:ext cx="4190365" cy="44351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99078" indent="-286378">
              <a:spcBef>
                <a:spcPts val="100"/>
              </a:spcBef>
              <a:buFont typeface="Wingdings"/>
              <a:buChar char=""/>
              <a:tabLst>
                <a:tab pos="299078" algn="l"/>
              </a:tabLst>
            </a:pPr>
            <a:r>
              <a:rPr sz="933" i="1" spc="-11" dirty="0">
                <a:latin typeface="Arial"/>
                <a:cs typeface="Arial"/>
              </a:rPr>
              <a:t>энцефалопатия</a:t>
            </a:r>
            <a:r>
              <a:rPr sz="933" i="1" spc="-20" dirty="0">
                <a:latin typeface="Arial"/>
                <a:cs typeface="Arial"/>
              </a:rPr>
              <a:t> </a:t>
            </a:r>
            <a:r>
              <a:rPr sz="933" i="1" dirty="0">
                <a:latin typeface="Arial"/>
                <a:cs typeface="Arial"/>
              </a:rPr>
              <a:t>–</a:t>
            </a:r>
            <a:r>
              <a:rPr sz="933" i="1" spc="11" dirty="0">
                <a:latin typeface="Arial"/>
                <a:cs typeface="Arial"/>
              </a:rPr>
              <a:t> </a:t>
            </a:r>
            <a:r>
              <a:rPr sz="933" b="1" i="1" dirty="0">
                <a:solidFill>
                  <a:srgbClr val="C00000"/>
                </a:solidFill>
                <a:latin typeface="Arial"/>
                <a:cs typeface="Arial"/>
              </a:rPr>
              <a:t>4 </a:t>
            </a:r>
            <a:r>
              <a:rPr sz="933" i="1" spc="-11" dirty="0">
                <a:latin typeface="Arial"/>
                <a:cs typeface="Arial"/>
              </a:rPr>
              <a:t>случая;</a:t>
            </a:r>
            <a:endParaRPr sz="933" dirty="0">
              <a:latin typeface="Arial"/>
              <a:cs typeface="Arial"/>
            </a:endParaRPr>
          </a:p>
          <a:p>
            <a:pPr marL="299078" indent="-286378">
              <a:buFont typeface="Wingdings"/>
              <a:buChar char=""/>
              <a:tabLst>
                <a:tab pos="299078" algn="l"/>
              </a:tabLst>
            </a:pPr>
            <a:r>
              <a:rPr sz="933" i="1" dirty="0">
                <a:latin typeface="Arial"/>
                <a:cs typeface="Arial"/>
              </a:rPr>
              <a:t>радикулит</a:t>
            </a:r>
            <a:r>
              <a:rPr sz="933" i="1" spc="-40" dirty="0">
                <a:latin typeface="Arial"/>
                <a:cs typeface="Arial"/>
              </a:rPr>
              <a:t> </a:t>
            </a:r>
            <a:r>
              <a:rPr sz="933" i="1" spc="-11" dirty="0">
                <a:latin typeface="Arial"/>
                <a:cs typeface="Arial"/>
              </a:rPr>
              <a:t>пояснично-крестцовый</a:t>
            </a:r>
            <a:r>
              <a:rPr sz="933" i="1" spc="-31" dirty="0">
                <a:latin typeface="Arial"/>
                <a:cs typeface="Arial"/>
              </a:rPr>
              <a:t> </a:t>
            </a:r>
            <a:r>
              <a:rPr sz="933" i="1" dirty="0">
                <a:latin typeface="Arial"/>
                <a:cs typeface="Arial"/>
              </a:rPr>
              <a:t>–</a:t>
            </a:r>
            <a:r>
              <a:rPr sz="933" i="1" spc="5" dirty="0">
                <a:latin typeface="Arial"/>
                <a:cs typeface="Arial"/>
              </a:rPr>
              <a:t> </a:t>
            </a:r>
            <a:r>
              <a:rPr sz="933" b="1" i="1" dirty="0">
                <a:solidFill>
                  <a:srgbClr val="C00000"/>
                </a:solidFill>
                <a:latin typeface="Arial"/>
                <a:cs typeface="Arial"/>
              </a:rPr>
              <a:t>2</a:t>
            </a:r>
            <a:r>
              <a:rPr sz="933" i="1" spc="5" dirty="0">
                <a:latin typeface="Arial"/>
                <a:cs typeface="Arial"/>
              </a:rPr>
              <a:t> </a:t>
            </a:r>
            <a:r>
              <a:rPr sz="933" i="1" spc="-11" dirty="0">
                <a:latin typeface="Arial"/>
                <a:cs typeface="Arial"/>
              </a:rPr>
              <a:t>случая;</a:t>
            </a:r>
            <a:endParaRPr sz="933" dirty="0">
              <a:latin typeface="Arial"/>
              <a:cs typeface="Arial"/>
            </a:endParaRPr>
          </a:p>
          <a:p>
            <a:pPr marL="299078" indent="-286378">
              <a:buFont typeface="Wingdings"/>
              <a:buChar char=""/>
              <a:tabLst>
                <a:tab pos="299078" algn="l"/>
              </a:tabLst>
            </a:pPr>
            <a:r>
              <a:rPr sz="933" i="1" dirty="0" err="1">
                <a:latin typeface="Arial"/>
                <a:cs typeface="Arial"/>
              </a:rPr>
              <a:t>радикулит</a:t>
            </a:r>
            <a:r>
              <a:rPr sz="933" i="1" spc="-55" dirty="0">
                <a:latin typeface="Arial"/>
                <a:cs typeface="Arial"/>
              </a:rPr>
              <a:t> </a:t>
            </a:r>
            <a:r>
              <a:rPr lang="ru-RU" sz="933" i="1" spc="-55" dirty="0">
                <a:latin typeface="Arial"/>
                <a:cs typeface="Arial"/>
              </a:rPr>
              <a:t>шейный</a:t>
            </a:r>
            <a:r>
              <a:rPr sz="933" i="1" dirty="0">
                <a:latin typeface="Arial"/>
                <a:cs typeface="Arial"/>
              </a:rPr>
              <a:t>–</a:t>
            </a:r>
            <a:r>
              <a:rPr sz="933" i="1" spc="-15" dirty="0">
                <a:latin typeface="Arial"/>
                <a:cs typeface="Arial"/>
              </a:rPr>
              <a:t> </a:t>
            </a:r>
            <a:r>
              <a:rPr sz="933" b="1" i="1" dirty="0">
                <a:solidFill>
                  <a:srgbClr val="C00000"/>
                </a:solidFill>
                <a:latin typeface="Arial"/>
                <a:cs typeface="Arial"/>
              </a:rPr>
              <a:t>1</a:t>
            </a:r>
            <a:r>
              <a:rPr sz="933" i="1" spc="-11" dirty="0">
                <a:latin typeface="Arial"/>
                <a:cs typeface="Arial"/>
              </a:rPr>
              <a:t> случай.</a:t>
            </a:r>
            <a:endParaRPr sz="933" dirty="0">
              <a:latin typeface="Arial"/>
              <a:cs typeface="Arial"/>
            </a:endParaRPr>
          </a:p>
        </p:txBody>
      </p:sp>
      <p:sp>
        <p:nvSpPr>
          <p:cNvPr id="56" name="object 14">
            <a:extLst>
              <a:ext uri="{FF2B5EF4-FFF2-40B4-BE49-F238E27FC236}">
                <a16:creationId xmlns:a16="http://schemas.microsoft.com/office/drawing/2014/main" id="{8883BC06-9002-34F6-2E83-298E0C0182AF}"/>
              </a:ext>
            </a:extLst>
          </p:cNvPr>
          <p:cNvSpPr txBox="1"/>
          <p:nvPr/>
        </p:nvSpPr>
        <p:spPr>
          <a:xfrm>
            <a:off x="6590992" y="1700808"/>
            <a:ext cx="5169637" cy="3016852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81915" rIns="0" bIns="0" rtlCol="0">
            <a:spAutoFit/>
          </a:bodyPr>
          <a:lstStyle/>
          <a:p>
            <a:pPr marL="299078" indent="-286378">
              <a:spcBef>
                <a:spcPts val="940"/>
              </a:spcBef>
              <a:buFont typeface="Wingdings"/>
              <a:buChar char=""/>
              <a:tabLst>
                <a:tab pos="299078" algn="l"/>
              </a:tabLst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овершенство технологических процессов – 327,</a:t>
            </a:r>
          </a:p>
          <a:p>
            <a:pPr marL="299078" indent="-286378">
              <a:spcBef>
                <a:spcPts val="840"/>
              </a:spcBef>
              <a:buFont typeface="Wingdings"/>
              <a:buChar char=""/>
              <a:tabLst>
                <a:tab pos="299078" algn="l"/>
              </a:tabLst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овершенство рабочих мест – 298;</a:t>
            </a:r>
          </a:p>
          <a:p>
            <a:pPr marL="299078" indent="-286378">
              <a:spcBef>
                <a:spcPts val="300"/>
              </a:spcBef>
              <a:buFont typeface="Wingdings"/>
              <a:buChar char=""/>
              <a:tabLst>
                <a:tab pos="299078" algn="l"/>
                <a:tab pos="1964640" algn="l"/>
                <a:tab pos="3231434" algn="l"/>
                <a:tab pos="4194706" algn="l"/>
                <a:tab pos="5592306" algn="l"/>
              </a:tabLst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труктивные недостатки машин механизмов, оборудования </a:t>
            </a:r>
            <a:r>
              <a:rPr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способлений</a:t>
            </a:r>
            <a:r>
              <a:rPr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инструментов – 73;</a:t>
            </a:r>
          </a:p>
          <a:p>
            <a:pPr marL="299078" indent="-286378">
              <a:spcBef>
                <a:spcPts val="540"/>
              </a:spcBef>
              <a:buFont typeface="Wingdings"/>
              <a:buChar char=""/>
              <a:tabLst>
                <a:tab pos="299078" algn="l"/>
              </a:tabLst>
            </a:pPr>
            <a:r>
              <a:rPr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овершенство санитарно-технологических установок – 34;</a:t>
            </a:r>
          </a:p>
          <a:p>
            <a:pPr marL="299078" indent="-286378">
              <a:spcBef>
                <a:spcPts val="840"/>
              </a:spcBef>
              <a:buFont typeface="Wingdings"/>
              <a:buChar char=""/>
              <a:tabLst>
                <a:tab pos="299078" algn="l"/>
              </a:tabLst>
            </a:pPr>
            <a:r>
              <a:rPr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арии – 27;</a:t>
            </a:r>
          </a:p>
          <a:p>
            <a:pPr marL="299078" indent="-286378">
              <a:spcBef>
                <a:spcPts val="840"/>
              </a:spcBef>
              <a:buFont typeface="Wingdings"/>
              <a:buChar char=""/>
              <a:tabLst>
                <a:tab pos="299078" algn="l"/>
              </a:tabLst>
            </a:pPr>
            <a:r>
              <a:rPr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исправность, прочие - 8;</a:t>
            </a:r>
          </a:p>
          <a:p>
            <a:pPr marL="299078" indent="-286378">
              <a:spcBef>
                <a:spcPts val="840"/>
              </a:spcBef>
              <a:buFont typeface="Wingdings"/>
              <a:buChar char=""/>
              <a:tabLst>
                <a:tab pos="299078" algn="l"/>
              </a:tabLst>
            </a:pPr>
            <a:r>
              <a:rPr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применение</a:t>
            </a:r>
            <a:r>
              <a:rPr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ств индивидуальной защиты </a:t>
            </a:r>
            <a:r>
              <a:rPr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7;</a:t>
            </a:r>
          </a:p>
          <a:p>
            <a:pPr marL="299078" indent="-286378">
              <a:spcBef>
                <a:spcPts val="840"/>
              </a:spcBef>
              <a:buFont typeface="Wingdings"/>
              <a:buChar char=""/>
              <a:tabLst>
                <a:tab pos="299078" algn="l"/>
              </a:tabLst>
            </a:pPr>
            <a:r>
              <a:rPr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ушение правил техники безопасности, нарушение </a:t>
            </a:r>
            <a:r>
              <a:rPr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ного</a:t>
            </a:r>
            <a:r>
              <a:rPr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а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а</a:t>
            </a:r>
            <a:r>
              <a:rPr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отдыха – 6;</a:t>
            </a:r>
          </a:p>
          <a:p>
            <a:pPr marL="299078" indent="-286378">
              <a:spcBef>
                <a:spcPts val="840"/>
              </a:spcBef>
              <a:buFont typeface="Wingdings"/>
              <a:buChar char=""/>
              <a:tabLst>
                <a:tab pos="299078" algn="l"/>
              </a:tabLst>
            </a:pPr>
            <a:r>
              <a:rPr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исправность машин, механизмов, оборудования, приспособлений – 5.</a:t>
            </a:r>
          </a:p>
        </p:txBody>
      </p:sp>
      <p:sp>
        <p:nvSpPr>
          <p:cNvPr id="57" name="object 6">
            <a:extLst>
              <a:ext uri="{FF2B5EF4-FFF2-40B4-BE49-F238E27FC236}">
                <a16:creationId xmlns:a16="http://schemas.microsoft.com/office/drawing/2014/main" id="{A2984CF3-F760-DA33-2CAD-BFE2D045F5B6}"/>
              </a:ext>
            </a:extLst>
          </p:cNvPr>
          <p:cNvSpPr txBox="1"/>
          <p:nvPr/>
        </p:nvSpPr>
        <p:spPr>
          <a:xfrm>
            <a:off x="6501936" y="538177"/>
            <a:ext cx="5010625" cy="874598"/>
          </a:xfrm>
          <a:prstGeom prst="rect">
            <a:avLst/>
          </a:prstGeom>
          <a:ln w="12192">
            <a:noFill/>
          </a:ln>
        </p:spPr>
        <p:txBody>
          <a:bodyPr vert="horz" wrap="square" lIns="0" tIns="134620" rIns="0" bIns="0" rtlCol="0">
            <a:spAutoFit/>
          </a:bodyPr>
          <a:lstStyle/>
          <a:p>
            <a:pPr marL="456554" algn="ctr">
              <a:spcBef>
                <a:spcPts val="1060"/>
              </a:spcBef>
            </a:pPr>
            <a:r>
              <a:rPr sz="1600" b="1" spc="-11" dirty="0">
                <a:solidFill>
                  <a:srgbClr val="001F5F"/>
                </a:solidFill>
                <a:latin typeface="Arial"/>
                <a:cs typeface="Arial"/>
              </a:rPr>
              <a:t>Основные обстоятельства и </a:t>
            </a:r>
            <a:r>
              <a:rPr sz="1600" b="1" spc="-11" dirty="0" err="1">
                <a:solidFill>
                  <a:srgbClr val="001F5F"/>
                </a:solidFill>
                <a:latin typeface="Arial"/>
                <a:cs typeface="Arial"/>
              </a:rPr>
              <a:t>условия</a:t>
            </a:r>
            <a:r>
              <a:rPr sz="1600" b="1" spc="-11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600" b="1" spc="-11" dirty="0" err="1">
                <a:solidFill>
                  <a:srgbClr val="001F5F"/>
                </a:solidFill>
                <a:latin typeface="Arial"/>
                <a:cs typeface="Arial"/>
              </a:rPr>
              <a:t>возникновения</a:t>
            </a:r>
            <a:r>
              <a:rPr lang="ru-RU" sz="1600" b="1" spc="-11" dirty="0">
                <a:solidFill>
                  <a:srgbClr val="001F5F"/>
                </a:solidFill>
                <a:latin typeface="Arial"/>
                <a:cs typeface="Arial"/>
              </a:rPr>
              <a:t> профессиональных заболеваний</a:t>
            </a:r>
            <a:r>
              <a:rPr sz="1600" b="1" spc="-11" dirty="0">
                <a:solidFill>
                  <a:srgbClr val="001F5F"/>
                </a:solidFill>
                <a:latin typeface="Arial"/>
                <a:cs typeface="Arial"/>
              </a:rPr>
              <a:t>: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AF117AB-995C-AD9C-7D3D-0285F2C55988}"/>
              </a:ext>
            </a:extLst>
          </p:cNvPr>
          <p:cNvSpPr txBox="1"/>
          <p:nvPr/>
        </p:nvSpPr>
        <p:spPr>
          <a:xfrm>
            <a:off x="2" y="10737"/>
            <a:ext cx="121919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труктура профессиональных заболеваний </a:t>
            </a:r>
            <a:r>
              <a:rPr lang="ru-RU" sz="2400" i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за 2024 год)*</a:t>
            </a:r>
            <a:endParaRPr lang="en-US" sz="2400" b="1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E99252CC-58BA-D127-5F78-1D2FE8277F25}"/>
              </a:ext>
            </a:extLst>
          </p:cNvPr>
          <p:cNvCxnSpPr/>
          <p:nvPr/>
        </p:nvCxnSpPr>
        <p:spPr>
          <a:xfrm>
            <a:off x="6192011" y="602180"/>
            <a:ext cx="0" cy="39359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957C8761-232A-09AD-4871-261751F2C574}"/>
              </a:ext>
            </a:extLst>
          </p:cNvPr>
          <p:cNvCxnSpPr>
            <a:cxnSpLocks/>
          </p:cNvCxnSpPr>
          <p:nvPr/>
        </p:nvCxnSpPr>
        <p:spPr>
          <a:xfrm flipV="1">
            <a:off x="6192011" y="4538085"/>
            <a:ext cx="0" cy="715119"/>
          </a:xfrm>
          <a:prstGeom prst="line">
            <a:avLst/>
          </a:prstGeom>
          <a:ln>
            <a:solidFill>
              <a:srgbClr val="00206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D5FE7B2C-DC57-D236-39BE-D8C6236F3E28}"/>
              </a:ext>
            </a:extLst>
          </p:cNvPr>
          <p:cNvGrpSpPr/>
          <p:nvPr/>
        </p:nvGrpSpPr>
        <p:grpSpPr>
          <a:xfrm>
            <a:off x="6384033" y="4717660"/>
            <a:ext cx="4882647" cy="1605120"/>
            <a:chOff x="4149699" y="946047"/>
            <a:chExt cx="4872319" cy="3353722"/>
          </a:xfrm>
        </p:grpSpPr>
        <p:sp>
          <p:nvSpPr>
            <p:cNvPr id="7" name="object 56">
              <a:extLst>
                <a:ext uri="{FF2B5EF4-FFF2-40B4-BE49-F238E27FC236}">
                  <a16:creationId xmlns:a16="http://schemas.microsoft.com/office/drawing/2014/main" id="{B42164B6-7188-11DC-FD44-F8E76B8944A2}"/>
                </a:ext>
              </a:extLst>
            </p:cNvPr>
            <p:cNvSpPr txBox="1"/>
            <p:nvPr/>
          </p:nvSpPr>
          <p:spPr>
            <a:xfrm>
              <a:off x="5134617" y="946047"/>
              <a:ext cx="3401855" cy="344309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0" tIns="41275" rIns="0" bIns="0" rtlCol="0">
              <a:spAutoFit/>
            </a:bodyPr>
            <a:lstStyle/>
            <a:p>
              <a:pPr algn="ctr">
                <a:spcBef>
                  <a:spcPts val="325"/>
                </a:spcBef>
              </a:pPr>
              <a:r>
                <a:rPr lang="ru-RU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Замеры</a:t>
              </a:r>
              <a:r>
                <a:rPr lang="ru-RU" sz="800" b="1" spc="-45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800" b="1" spc="-11" dirty="0">
                  <a:latin typeface="Arial" panose="020B0604020202020204" pitchFamily="34" charset="0"/>
                  <a:cs typeface="Arial" panose="020B0604020202020204" pitchFamily="34" charset="0"/>
                </a:rPr>
                <a:t>физических</a:t>
              </a:r>
              <a:r>
                <a:rPr lang="ru-RU" sz="800" b="1" spc="-35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800" b="1" spc="-11" dirty="0">
                  <a:latin typeface="Arial" panose="020B0604020202020204" pitchFamily="34" charset="0"/>
                  <a:cs typeface="Arial" panose="020B0604020202020204" pitchFamily="34" charset="0"/>
                </a:rPr>
                <a:t>факторов</a:t>
              </a:r>
              <a:endParaRPr lang="ru-RU" sz="8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object 81">
              <a:extLst>
                <a:ext uri="{FF2B5EF4-FFF2-40B4-BE49-F238E27FC236}">
                  <a16:creationId xmlns:a16="http://schemas.microsoft.com/office/drawing/2014/main" id="{88D14CDE-9B1C-AD05-C68D-B74AF23CA517}"/>
                </a:ext>
              </a:extLst>
            </p:cNvPr>
            <p:cNvSpPr txBox="1"/>
            <p:nvPr/>
          </p:nvSpPr>
          <p:spPr>
            <a:xfrm>
              <a:off x="6759119" y="2269218"/>
              <a:ext cx="958669" cy="48122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sz="1067" b="1" dirty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sz="1067" b="1" spc="-5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067" b="1" spc="-25" dirty="0">
                  <a:latin typeface="Arial" panose="020B0604020202020204" pitchFamily="34" charset="0"/>
                  <a:cs typeface="Arial" panose="020B0604020202020204" pitchFamily="34" charset="0"/>
                </a:rPr>
                <a:t>254</a:t>
              </a:r>
              <a:endParaRPr lang="ru-RU" sz="1067" b="1" spc="-25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2700">
                <a:spcBef>
                  <a:spcPts val="95"/>
                </a:spcBef>
              </a:pPr>
              <a:endParaRPr sz="2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Прямоугольник: скругленные углы 8">
              <a:extLst>
                <a:ext uri="{FF2B5EF4-FFF2-40B4-BE49-F238E27FC236}">
                  <a16:creationId xmlns:a16="http://schemas.microsoft.com/office/drawing/2014/main" id="{40614CB3-7FFC-14D4-6AE2-5872EF2985B6}"/>
                </a:ext>
              </a:extLst>
            </p:cNvPr>
            <p:cNvSpPr/>
            <p:nvPr/>
          </p:nvSpPr>
          <p:spPr>
            <a:xfrm>
              <a:off x="6435724" y="1732515"/>
              <a:ext cx="1080119" cy="33903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сего</a:t>
              </a:r>
              <a:endParaRPr lang="ru-KZ" sz="8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Прямоугольник: скругленные углы 9">
              <a:extLst>
                <a:ext uri="{FF2B5EF4-FFF2-40B4-BE49-F238E27FC236}">
                  <a16:creationId xmlns:a16="http://schemas.microsoft.com/office/drawing/2014/main" id="{8198BB80-2FDE-AEBD-90BC-40A922052922}"/>
                </a:ext>
              </a:extLst>
            </p:cNvPr>
            <p:cNvSpPr/>
            <p:nvPr/>
          </p:nvSpPr>
          <p:spPr>
            <a:xfrm>
              <a:off x="4383284" y="1789576"/>
              <a:ext cx="1440161" cy="339035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800" dirty="0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змерения</a:t>
              </a:r>
              <a:endParaRPr lang="ru-KZ" sz="8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Прямоугольник: скругленные углы 10">
              <a:extLst>
                <a:ext uri="{FF2B5EF4-FFF2-40B4-BE49-F238E27FC236}">
                  <a16:creationId xmlns:a16="http://schemas.microsoft.com/office/drawing/2014/main" id="{522762A2-C31C-AD15-CD2E-1215CEBC16ED}"/>
                </a:ext>
              </a:extLst>
            </p:cNvPr>
            <p:cNvSpPr/>
            <p:nvPr/>
          </p:nvSpPr>
          <p:spPr>
            <a:xfrm>
              <a:off x="7705723" y="1695771"/>
              <a:ext cx="1316295" cy="43204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667" dirty="0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явлены превышения</a:t>
              </a:r>
              <a:endParaRPr lang="ru-KZ" sz="667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2" name="object 61">
              <a:extLst>
                <a:ext uri="{FF2B5EF4-FFF2-40B4-BE49-F238E27FC236}">
                  <a16:creationId xmlns:a16="http://schemas.microsoft.com/office/drawing/2014/main" id="{D34F54F9-BA73-8301-2243-8D6CB7B73AF6}"/>
                </a:ext>
              </a:extLst>
            </p:cNvPr>
            <p:cNvGrpSpPr/>
            <p:nvPr/>
          </p:nvGrpSpPr>
          <p:grpSpPr>
            <a:xfrm>
              <a:off x="4163415" y="2202787"/>
              <a:ext cx="2202181" cy="389999"/>
              <a:chOff x="141731" y="4599958"/>
              <a:chExt cx="2202181" cy="389999"/>
            </a:xfrm>
          </p:grpSpPr>
          <p:sp>
            <p:nvSpPr>
              <p:cNvPr id="69" name="object 62">
                <a:extLst>
                  <a:ext uri="{FF2B5EF4-FFF2-40B4-BE49-F238E27FC236}">
                    <a16:creationId xmlns:a16="http://schemas.microsoft.com/office/drawing/2014/main" id="{7C748F4C-A3E5-D6CD-8648-05B3BF5AF2CB}"/>
                  </a:ext>
                </a:extLst>
              </p:cNvPr>
              <p:cNvSpPr/>
              <p:nvPr/>
            </p:nvSpPr>
            <p:spPr>
              <a:xfrm>
                <a:off x="141732" y="4675631"/>
                <a:ext cx="2202180" cy="314325"/>
              </a:xfrm>
              <a:custGeom>
                <a:avLst/>
                <a:gdLst/>
                <a:ahLst/>
                <a:cxnLst/>
                <a:rect l="l" t="t" r="r" b="b"/>
                <a:pathLst>
                  <a:path w="2202180" h="314325">
                    <a:moveTo>
                      <a:pt x="2149856" y="0"/>
                    </a:moveTo>
                    <a:lnTo>
                      <a:pt x="52323" y="0"/>
                    </a:lnTo>
                    <a:lnTo>
                      <a:pt x="31959" y="4103"/>
                    </a:lnTo>
                    <a:lnTo>
                      <a:pt x="15327" y="15303"/>
                    </a:lnTo>
                    <a:lnTo>
                      <a:pt x="4112" y="31932"/>
                    </a:lnTo>
                    <a:lnTo>
                      <a:pt x="0" y="52324"/>
                    </a:lnTo>
                    <a:lnTo>
                      <a:pt x="0" y="261620"/>
                    </a:lnTo>
                    <a:lnTo>
                      <a:pt x="4112" y="282011"/>
                    </a:lnTo>
                    <a:lnTo>
                      <a:pt x="15327" y="298640"/>
                    </a:lnTo>
                    <a:lnTo>
                      <a:pt x="31959" y="309840"/>
                    </a:lnTo>
                    <a:lnTo>
                      <a:pt x="52323" y="313944"/>
                    </a:lnTo>
                    <a:lnTo>
                      <a:pt x="2149856" y="313944"/>
                    </a:lnTo>
                    <a:lnTo>
                      <a:pt x="2170247" y="309840"/>
                    </a:lnTo>
                    <a:lnTo>
                      <a:pt x="2186876" y="298640"/>
                    </a:lnTo>
                    <a:lnTo>
                      <a:pt x="2198076" y="282011"/>
                    </a:lnTo>
                    <a:lnTo>
                      <a:pt x="2202180" y="261620"/>
                    </a:lnTo>
                    <a:lnTo>
                      <a:pt x="2202180" y="52324"/>
                    </a:lnTo>
                    <a:lnTo>
                      <a:pt x="2198076" y="31932"/>
                    </a:lnTo>
                    <a:lnTo>
                      <a:pt x="2186876" y="15303"/>
                    </a:lnTo>
                    <a:lnTo>
                      <a:pt x="2170247" y="4103"/>
                    </a:lnTo>
                    <a:lnTo>
                      <a:pt x="2149856" y="0"/>
                    </a:lnTo>
                    <a:close/>
                  </a:path>
                </a:pathLst>
              </a:cu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9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object 63">
                <a:extLst>
                  <a:ext uri="{FF2B5EF4-FFF2-40B4-BE49-F238E27FC236}">
                    <a16:creationId xmlns:a16="http://schemas.microsoft.com/office/drawing/2014/main" id="{B341C57F-87F3-6981-675A-A9360EC53DB0}"/>
                  </a:ext>
                </a:extLst>
              </p:cNvPr>
              <p:cNvSpPr/>
              <p:nvPr/>
            </p:nvSpPr>
            <p:spPr>
              <a:xfrm>
                <a:off x="141731" y="4599958"/>
                <a:ext cx="2178685" cy="389999"/>
              </a:xfrm>
              <a:custGeom>
                <a:avLst/>
                <a:gdLst/>
                <a:ahLst/>
                <a:cxnLst/>
                <a:rect l="l" t="t" r="r" b="b"/>
                <a:pathLst>
                  <a:path w="2202180" h="314325">
                    <a:moveTo>
                      <a:pt x="0" y="52324"/>
                    </a:moveTo>
                    <a:lnTo>
                      <a:pt x="4112" y="31932"/>
                    </a:lnTo>
                    <a:lnTo>
                      <a:pt x="15327" y="15303"/>
                    </a:lnTo>
                    <a:lnTo>
                      <a:pt x="31959" y="4103"/>
                    </a:lnTo>
                    <a:lnTo>
                      <a:pt x="52323" y="0"/>
                    </a:lnTo>
                    <a:lnTo>
                      <a:pt x="2149856" y="0"/>
                    </a:lnTo>
                    <a:lnTo>
                      <a:pt x="2170247" y="4103"/>
                    </a:lnTo>
                    <a:lnTo>
                      <a:pt x="2186876" y="15303"/>
                    </a:lnTo>
                    <a:lnTo>
                      <a:pt x="2198076" y="31932"/>
                    </a:lnTo>
                    <a:lnTo>
                      <a:pt x="2202180" y="52324"/>
                    </a:lnTo>
                    <a:lnTo>
                      <a:pt x="2202180" y="261620"/>
                    </a:lnTo>
                    <a:lnTo>
                      <a:pt x="2198076" y="282011"/>
                    </a:lnTo>
                    <a:lnTo>
                      <a:pt x="2186876" y="298640"/>
                    </a:lnTo>
                    <a:lnTo>
                      <a:pt x="2170247" y="309840"/>
                    </a:lnTo>
                    <a:lnTo>
                      <a:pt x="2149856" y="313944"/>
                    </a:lnTo>
                    <a:lnTo>
                      <a:pt x="52323" y="313944"/>
                    </a:lnTo>
                    <a:lnTo>
                      <a:pt x="31959" y="309840"/>
                    </a:lnTo>
                    <a:lnTo>
                      <a:pt x="15327" y="298640"/>
                    </a:lnTo>
                    <a:lnTo>
                      <a:pt x="4112" y="282011"/>
                    </a:lnTo>
                    <a:lnTo>
                      <a:pt x="0" y="261620"/>
                    </a:lnTo>
                    <a:lnTo>
                      <a:pt x="0" y="52324"/>
                    </a:lnTo>
                    <a:close/>
                  </a:path>
                </a:pathLst>
              </a:custGeom>
              <a:ln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9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3" name="object 64">
              <a:extLst>
                <a:ext uri="{FF2B5EF4-FFF2-40B4-BE49-F238E27FC236}">
                  <a16:creationId xmlns:a16="http://schemas.microsoft.com/office/drawing/2014/main" id="{625E8831-9ACE-BA41-92FB-F74E7D331894}"/>
                </a:ext>
              </a:extLst>
            </p:cNvPr>
            <p:cNvSpPr txBox="1"/>
            <p:nvPr/>
          </p:nvSpPr>
          <p:spPr>
            <a:xfrm>
              <a:off x="4161930" y="2127424"/>
              <a:ext cx="2186304" cy="291167"/>
            </a:xfrm>
            <a:prstGeom prst="rect">
              <a:avLst/>
            </a:prstGeom>
          </p:spPr>
          <p:txBody>
            <a:bodyPr vert="horz" wrap="square" lIns="0" tIns="16087" rIns="0" bIns="0" rtlCol="0">
              <a:spAutoFit/>
            </a:bodyPr>
            <a:lstStyle/>
            <a:p>
              <a:pPr marL="578259">
                <a:spcBef>
                  <a:spcPts val="127"/>
                </a:spcBef>
              </a:pPr>
              <a:r>
                <a:rPr sz="800" b="1" spc="-33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ровень</a:t>
              </a:r>
              <a:r>
                <a:rPr sz="800" b="1" spc="-6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800" b="1" spc="-27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ума</a:t>
              </a:r>
              <a:endParaRPr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4" name="object 65">
              <a:extLst>
                <a:ext uri="{FF2B5EF4-FFF2-40B4-BE49-F238E27FC236}">
                  <a16:creationId xmlns:a16="http://schemas.microsoft.com/office/drawing/2014/main" id="{A9B27FEE-0D99-5643-2A67-B546AC45BC5D}"/>
                </a:ext>
              </a:extLst>
            </p:cNvPr>
            <p:cNvGrpSpPr/>
            <p:nvPr/>
          </p:nvGrpSpPr>
          <p:grpSpPr>
            <a:xfrm>
              <a:off x="4149699" y="2673176"/>
              <a:ext cx="2214880" cy="325120"/>
              <a:chOff x="128015" y="5070347"/>
              <a:chExt cx="2214880" cy="325120"/>
            </a:xfrm>
          </p:grpSpPr>
          <p:sp>
            <p:nvSpPr>
              <p:cNvPr id="67" name="object 66">
                <a:extLst>
                  <a:ext uri="{FF2B5EF4-FFF2-40B4-BE49-F238E27FC236}">
                    <a16:creationId xmlns:a16="http://schemas.microsoft.com/office/drawing/2014/main" id="{6CE4B2CA-ECCF-D064-82D6-ADF24ACE6A4E}"/>
                  </a:ext>
                </a:extLst>
              </p:cNvPr>
              <p:cNvSpPr/>
              <p:nvPr/>
            </p:nvSpPr>
            <p:spPr>
              <a:xfrm>
                <a:off x="134111" y="5076443"/>
                <a:ext cx="2202180" cy="312420"/>
              </a:xfrm>
              <a:custGeom>
                <a:avLst/>
                <a:gdLst/>
                <a:ahLst/>
                <a:cxnLst/>
                <a:rect l="l" t="t" r="r" b="b"/>
                <a:pathLst>
                  <a:path w="2202180" h="312420">
                    <a:moveTo>
                      <a:pt x="2150110" y="0"/>
                    </a:moveTo>
                    <a:lnTo>
                      <a:pt x="52069" y="0"/>
                    </a:lnTo>
                    <a:lnTo>
                      <a:pt x="31803" y="4099"/>
                    </a:lnTo>
                    <a:lnTo>
                      <a:pt x="15252" y="15271"/>
                    </a:lnTo>
                    <a:lnTo>
                      <a:pt x="4092" y="31825"/>
                    </a:lnTo>
                    <a:lnTo>
                      <a:pt x="0" y="52069"/>
                    </a:lnTo>
                    <a:lnTo>
                      <a:pt x="0" y="260349"/>
                    </a:lnTo>
                    <a:lnTo>
                      <a:pt x="4092" y="280594"/>
                    </a:lnTo>
                    <a:lnTo>
                      <a:pt x="15252" y="297148"/>
                    </a:lnTo>
                    <a:lnTo>
                      <a:pt x="31803" y="308320"/>
                    </a:lnTo>
                    <a:lnTo>
                      <a:pt x="52069" y="312419"/>
                    </a:lnTo>
                    <a:lnTo>
                      <a:pt x="2150110" y="312419"/>
                    </a:lnTo>
                    <a:lnTo>
                      <a:pt x="2170354" y="308320"/>
                    </a:lnTo>
                    <a:lnTo>
                      <a:pt x="2186908" y="297148"/>
                    </a:lnTo>
                    <a:lnTo>
                      <a:pt x="2198080" y="280594"/>
                    </a:lnTo>
                    <a:lnTo>
                      <a:pt x="2202180" y="260349"/>
                    </a:lnTo>
                    <a:lnTo>
                      <a:pt x="2202180" y="52069"/>
                    </a:lnTo>
                    <a:lnTo>
                      <a:pt x="2198080" y="31825"/>
                    </a:lnTo>
                    <a:lnTo>
                      <a:pt x="2186908" y="15271"/>
                    </a:lnTo>
                    <a:lnTo>
                      <a:pt x="2170354" y="4099"/>
                    </a:lnTo>
                    <a:lnTo>
                      <a:pt x="2150110" y="0"/>
                    </a:lnTo>
                    <a:close/>
                  </a:path>
                </a:pathLst>
              </a:cu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9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object 67">
                <a:extLst>
                  <a:ext uri="{FF2B5EF4-FFF2-40B4-BE49-F238E27FC236}">
                    <a16:creationId xmlns:a16="http://schemas.microsoft.com/office/drawing/2014/main" id="{E0FAE989-BB60-440F-1370-B26EF9F59D5C}"/>
                  </a:ext>
                </a:extLst>
              </p:cNvPr>
              <p:cNvSpPr/>
              <p:nvPr/>
            </p:nvSpPr>
            <p:spPr>
              <a:xfrm>
                <a:off x="134111" y="5076443"/>
                <a:ext cx="2202180" cy="312420"/>
              </a:xfrm>
              <a:custGeom>
                <a:avLst/>
                <a:gdLst/>
                <a:ahLst/>
                <a:cxnLst/>
                <a:rect l="l" t="t" r="r" b="b"/>
                <a:pathLst>
                  <a:path w="2202180" h="312420">
                    <a:moveTo>
                      <a:pt x="0" y="52069"/>
                    </a:moveTo>
                    <a:lnTo>
                      <a:pt x="4092" y="31825"/>
                    </a:lnTo>
                    <a:lnTo>
                      <a:pt x="15252" y="15271"/>
                    </a:lnTo>
                    <a:lnTo>
                      <a:pt x="31803" y="4099"/>
                    </a:lnTo>
                    <a:lnTo>
                      <a:pt x="52069" y="0"/>
                    </a:lnTo>
                    <a:lnTo>
                      <a:pt x="2150110" y="0"/>
                    </a:lnTo>
                    <a:lnTo>
                      <a:pt x="2170354" y="4099"/>
                    </a:lnTo>
                    <a:lnTo>
                      <a:pt x="2186908" y="15271"/>
                    </a:lnTo>
                    <a:lnTo>
                      <a:pt x="2198080" y="31825"/>
                    </a:lnTo>
                    <a:lnTo>
                      <a:pt x="2202180" y="52069"/>
                    </a:lnTo>
                    <a:lnTo>
                      <a:pt x="2202180" y="260349"/>
                    </a:lnTo>
                    <a:lnTo>
                      <a:pt x="2198080" y="280594"/>
                    </a:lnTo>
                    <a:lnTo>
                      <a:pt x="2186908" y="297148"/>
                    </a:lnTo>
                    <a:lnTo>
                      <a:pt x="2170354" y="308320"/>
                    </a:lnTo>
                    <a:lnTo>
                      <a:pt x="2150110" y="312419"/>
                    </a:lnTo>
                    <a:lnTo>
                      <a:pt x="52069" y="312419"/>
                    </a:lnTo>
                    <a:lnTo>
                      <a:pt x="31803" y="308320"/>
                    </a:lnTo>
                    <a:lnTo>
                      <a:pt x="15252" y="297148"/>
                    </a:lnTo>
                    <a:lnTo>
                      <a:pt x="4092" y="280594"/>
                    </a:lnTo>
                    <a:lnTo>
                      <a:pt x="0" y="260349"/>
                    </a:lnTo>
                    <a:lnTo>
                      <a:pt x="0" y="52069"/>
                    </a:lnTo>
                    <a:close/>
                  </a:path>
                </a:pathLst>
              </a:custGeom>
              <a:ln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9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5" name="object 68">
              <a:extLst>
                <a:ext uri="{FF2B5EF4-FFF2-40B4-BE49-F238E27FC236}">
                  <a16:creationId xmlns:a16="http://schemas.microsoft.com/office/drawing/2014/main" id="{5677B67D-0FD3-8EDE-9555-9A6065687264}"/>
                </a:ext>
              </a:extLst>
            </p:cNvPr>
            <p:cNvSpPr txBox="1"/>
            <p:nvPr/>
          </p:nvSpPr>
          <p:spPr>
            <a:xfrm>
              <a:off x="4171559" y="2592787"/>
              <a:ext cx="2170542" cy="291167"/>
            </a:xfrm>
            <a:prstGeom prst="rect">
              <a:avLst/>
            </a:prstGeom>
          </p:spPr>
          <p:txBody>
            <a:bodyPr vert="horz" wrap="square" lIns="0" tIns="16087" rIns="0" bIns="0" rtlCol="0">
              <a:spAutoFit/>
            </a:bodyPr>
            <a:lstStyle/>
            <a:p>
              <a:pPr>
                <a:spcBef>
                  <a:spcPts val="127"/>
                </a:spcBef>
              </a:pPr>
              <a:r>
                <a:rPr sz="800" b="1" spc="-33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ровень</a:t>
              </a:r>
              <a:r>
                <a:rPr sz="800" b="1" spc="-6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800" b="1" spc="-33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электромагнитный полей</a:t>
              </a:r>
              <a:endParaRPr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6" name="object 69">
              <a:extLst>
                <a:ext uri="{FF2B5EF4-FFF2-40B4-BE49-F238E27FC236}">
                  <a16:creationId xmlns:a16="http://schemas.microsoft.com/office/drawing/2014/main" id="{55E51BFB-2BD9-B6C0-646D-EDFC1501C585}"/>
                </a:ext>
              </a:extLst>
            </p:cNvPr>
            <p:cNvGrpSpPr/>
            <p:nvPr/>
          </p:nvGrpSpPr>
          <p:grpSpPr>
            <a:xfrm>
              <a:off x="4157065" y="3060019"/>
              <a:ext cx="2214880" cy="325120"/>
              <a:chOff x="135381" y="5457190"/>
              <a:chExt cx="2214880" cy="325120"/>
            </a:xfrm>
          </p:grpSpPr>
          <p:sp>
            <p:nvSpPr>
              <p:cNvPr id="65" name="object 70">
                <a:extLst>
                  <a:ext uri="{FF2B5EF4-FFF2-40B4-BE49-F238E27FC236}">
                    <a16:creationId xmlns:a16="http://schemas.microsoft.com/office/drawing/2014/main" id="{D1A66143-321A-A09E-A0B4-0A37FD6245B4}"/>
                  </a:ext>
                </a:extLst>
              </p:cNvPr>
              <p:cNvSpPr/>
              <p:nvPr/>
            </p:nvSpPr>
            <p:spPr>
              <a:xfrm>
                <a:off x="141731" y="5463540"/>
                <a:ext cx="2202180" cy="312420"/>
              </a:xfrm>
              <a:custGeom>
                <a:avLst/>
                <a:gdLst/>
                <a:ahLst/>
                <a:cxnLst/>
                <a:rect l="l" t="t" r="r" b="b"/>
                <a:pathLst>
                  <a:path w="2202180" h="312420">
                    <a:moveTo>
                      <a:pt x="2150110" y="0"/>
                    </a:moveTo>
                    <a:lnTo>
                      <a:pt x="52069" y="0"/>
                    </a:lnTo>
                    <a:lnTo>
                      <a:pt x="31803" y="4099"/>
                    </a:lnTo>
                    <a:lnTo>
                      <a:pt x="15252" y="15271"/>
                    </a:lnTo>
                    <a:lnTo>
                      <a:pt x="4092" y="31825"/>
                    </a:lnTo>
                    <a:lnTo>
                      <a:pt x="0" y="52070"/>
                    </a:lnTo>
                    <a:lnTo>
                      <a:pt x="0" y="260350"/>
                    </a:lnTo>
                    <a:lnTo>
                      <a:pt x="4092" y="280616"/>
                    </a:lnTo>
                    <a:lnTo>
                      <a:pt x="15252" y="297167"/>
                    </a:lnTo>
                    <a:lnTo>
                      <a:pt x="31803" y="308327"/>
                    </a:lnTo>
                    <a:lnTo>
                      <a:pt x="52069" y="312420"/>
                    </a:lnTo>
                    <a:lnTo>
                      <a:pt x="2150110" y="312420"/>
                    </a:lnTo>
                    <a:lnTo>
                      <a:pt x="2170354" y="308327"/>
                    </a:lnTo>
                    <a:lnTo>
                      <a:pt x="2186908" y="297167"/>
                    </a:lnTo>
                    <a:lnTo>
                      <a:pt x="2198080" y="280616"/>
                    </a:lnTo>
                    <a:lnTo>
                      <a:pt x="2202180" y="260350"/>
                    </a:lnTo>
                    <a:lnTo>
                      <a:pt x="2202180" y="52070"/>
                    </a:lnTo>
                    <a:lnTo>
                      <a:pt x="2198080" y="31825"/>
                    </a:lnTo>
                    <a:lnTo>
                      <a:pt x="2186908" y="15271"/>
                    </a:lnTo>
                    <a:lnTo>
                      <a:pt x="2170354" y="4099"/>
                    </a:lnTo>
                    <a:lnTo>
                      <a:pt x="2150110" y="0"/>
                    </a:lnTo>
                    <a:close/>
                  </a:path>
                </a:pathLst>
              </a:cu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9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object 71">
                <a:extLst>
                  <a:ext uri="{FF2B5EF4-FFF2-40B4-BE49-F238E27FC236}">
                    <a16:creationId xmlns:a16="http://schemas.microsoft.com/office/drawing/2014/main" id="{68D37A2A-3814-57AA-558E-FF8D193899AD}"/>
                  </a:ext>
                </a:extLst>
              </p:cNvPr>
              <p:cNvSpPr/>
              <p:nvPr/>
            </p:nvSpPr>
            <p:spPr>
              <a:xfrm>
                <a:off x="141731" y="5463540"/>
                <a:ext cx="2202180" cy="312420"/>
              </a:xfrm>
              <a:custGeom>
                <a:avLst/>
                <a:gdLst/>
                <a:ahLst/>
                <a:cxnLst/>
                <a:rect l="l" t="t" r="r" b="b"/>
                <a:pathLst>
                  <a:path w="2202180" h="312420">
                    <a:moveTo>
                      <a:pt x="0" y="52070"/>
                    </a:moveTo>
                    <a:lnTo>
                      <a:pt x="4092" y="31825"/>
                    </a:lnTo>
                    <a:lnTo>
                      <a:pt x="15252" y="15271"/>
                    </a:lnTo>
                    <a:lnTo>
                      <a:pt x="31803" y="4099"/>
                    </a:lnTo>
                    <a:lnTo>
                      <a:pt x="52069" y="0"/>
                    </a:lnTo>
                    <a:lnTo>
                      <a:pt x="2150110" y="0"/>
                    </a:lnTo>
                    <a:lnTo>
                      <a:pt x="2170354" y="4099"/>
                    </a:lnTo>
                    <a:lnTo>
                      <a:pt x="2186908" y="15271"/>
                    </a:lnTo>
                    <a:lnTo>
                      <a:pt x="2198080" y="31825"/>
                    </a:lnTo>
                    <a:lnTo>
                      <a:pt x="2202180" y="52070"/>
                    </a:lnTo>
                    <a:lnTo>
                      <a:pt x="2202180" y="260350"/>
                    </a:lnTo>
                    <a:lnTo>
                      <a:pt x="2198080" y="280616"/>
                    </a:lnTo>
                    <a:lnTo>
                      <a:pt x="2186908" y="297167"/>
                    </a:lnTo>
                    <a:lnTo>
                      <a:pt x="2170354" y="308327"/>
                    </a:lnTo>
                    <a:lnTo>
                      <a:pt x="2150110" y="312420"/>
                    </a:lnTo>
                    <a:lnTo>
                      <a:pt x="52069" y="312420"/>
                    </a:lnTo>
                    <a:lnTo>
                      <a:pt x="31803" y="308327"/>
                    </a:lnTo>
                    <a:lnTo>
                      <a:pt x="15252" y="297167"/>
                    </a:lnTo>
                    <a:lnTo>
                      <a:pt x="4092" y="280616"/>
                    </a:lnTo>
                    <a:lnTo>
                      <a:pt x="0" y="260350"/>
                    </a:lnTo>
                    <a:lnTo>
                      <a:pt x="0" y="52070"/>
                    </a:lnTo>
                    <a:close/>
                  </a:path>
                </a:pathLst>
              </a:custGeom>
              <a:ln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pPr algn="ctr"/>
                <a:endParaRPr sz="93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" name="object 72">
              <a:extLst>
                <a:ext uri="{FF2B5EF4-FFF2-40B4-BE49-F238E27FC236}">
                  <a16:creationId xmlns:a16="http://schemas.microsoft.com/office/drawing/2014/main" id="{D83F7144-8060-1B94-DD39-6C58E4D5F8CB}"/>
                </a:ext>
              </a:extLst>
            </p:cNvPr>
            <p:cNvSpPr txBox="1"/>
            <p:nvPr/>
          </p:nvSpPr>
          <p:spPr>
            <a:xfrm>
              <a:off x="4171558" y="3078663"/>
              <a:ext cx="2186304" cy="291167"/>
            </a:xfrm>
            <a:prstGeom prst="rect">
              <a:avLst/>
            </a:prstGeom>
          </p:spPr>
          <p:txBody>
            <a:bodyPr vert="horz" wrap="square" lIns="0" tIns="16087" rIns="0" bIns="0" rtlCol="0">
              <a:spAutoFit/>
            </a:bodyPr>
            <a:lstStyle/>
            <a:p>
              <a:pPr marL="320879">
                <a:spcBef>
                  <a:spcPts val="127"/>
                </a:spcBef>
              </a:pPr>
              <a:r>
                <a:rPr sz="800" b="1" spc="-33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ровень</a:t>
              </a:r>
              <a:r>
                <a:rPr sz="800" b="1" spc="-6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800" b="1" spc="-13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ибрации</a:t>
              </a:r>
              <a:endParaRPr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8" name="object 73">
              <a:extLst>
                <a:ext uri="{FF2B5EF4-FFF2-40B4-BE49-F238E27FC236}">
                  <a16:creationId xmlns:a16="http://schemas.microsoft.com/office/drawing/2014/main" id="{8FBCD3C8-32D7-E307-0C07-F3A15521DED9}"/>
                </a:ext>
              </a:extLst>
            </p:cNvPr>
            <p:cNvGrpSpPr/>
            <p:nvPr/>
          </p:nvGrpSpPr>
          <p:grpSpPr>
            <a:xfrm>
              <a:off x="4149699" y="3429081"/>
              <a:ext cx="2214880" cy="325120"/>
              <a:chOff x="128015" y="5826252"/>
              <a:chExt cx="2214880" cy="325120"/>
            </a:xfrm>
          </p:grpSpPr>
          <p:sp>
            <p:nvSpPr>
              <p:cNvPr id="63" name="object 74">
                <a:extLst>
                  <a:ext uri="{FF2B5EF4-FFF2-40B4-BE49-F238E27FC236}">
                    <a16:creationId xmlns:a16="http://schemas.microsoft.com/office/drawing/2014/main" id="{7CF573B9-F494-6835-C128-EB2A770360B7}"/>
                  </a:ext>
                </a:extLst>
              </p:cNvPr>
              <p:cNvSpPr/>
              <p:nvPr/>
            </p:nvSpPr>
            <p:spPr>
              <a:xfrm>
                <a:off x="134111" y="5832348"/>
                <a:ext cx="2202180" cy="312420"/>
              </a:xfrm>
              <a:custGeom>
                <a:avLst/>
                <a:gdLst/>
                <a:ahLst/>
                <a:cxnLst/>
                <a:rect l="l" t="t" r="r" b="b"/>
                <a:pathLst>
                  <a:path w="2202180" h="312420">
                    <a:moveTo>
                      <a:pt x="2150110" y="0"/>
                    </a:moveTo>
                    <a:lnTo>
                      <a:pt x="52069" y="0"/>
                    </a:lnTo>
                    <a:lnTo>
                      <a:pt x="31803" y="4092"/>
                    </a:lnTo>
                    <a:lnTo>
                      <a:pt x="15252" y="15252"/>
                    </a:lnTo>
                    <a:lnTo>
                      <a:pt x="4092" y="31803"/>
                    </a:lnTo>
                    <a:lnTo>
                      <a:pt x="0" y="52069"/>
                    </a:lnTo>
                    <a:lnTo>
                      <a:pt x="0" y="260349"/>
                    </a:lnTo>
                    <a:lnTo>
                      <a:pt x="4092" y="280616"/>
                    </a:lnTo>
                    <a:lnTo>
                      <a:pt x="15252" y="297167"/>
                    </a:lnTo>
                    <a:lnTo>
                      <a:pt x="31803" y="308327"/>
                    </a:lnTo>
                    <a:lnTo>
                      <a:pt x="52069" y="312419"/>
                    </a:lnTo>
                    <a:lnTo>
                      <a:pt x="2150110" y="312419"/>
                    </a:lnTo>
                    <a:lnTo>
                      <a:pt x="2170354" y="308327"/>
                    </a:lnTo>
                    <a:lnTo>
                      <a:pt x="2186908" y="297167"/>
                    </a:lnTo>
                    <a:lnTo>
                      <a:pt x="2198080" y="280616"/>
                    </a:lnTo>
                    <a:lnTo>
                      <a:pt x="2202180" y="260349"/>
                    </a:lnTo>
                    <a:lnTo>
                      <a:pt x="2202180" y="52069"/>
                    </a:lnTo>
                    <a:lnTo>
                      <a:pt x="2198080" y="31803"/>
                    </a:lnTo>
                    <a:lnTo>
                      <a:pt x="2186908" y="15252"/>
                    </a:lnTo>
                    <a:lnTo>
                      <a:pt x="2170354" y="4092"/>
                    </a:lnTo>
                    <a:lnTo>
                      <a:pt x="2150110" y="0"/>
                    </a:lnTo>
                    <a:close/>
                  </a:path>
                </a:pathLst>
              </a:cu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9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4" name="object 75">
                <a:extLst>
                  <a:ext uri="{FF2B5EF4-FFF2-40B4-BE49-F238E27FC236}">
                    <a16:creationId xmlns:a16="http://schemas.microsoft.com/office/drawing/2014/main" id="{0B238314-B333-8C10-8ECF-571AC890145D}"/>
                  </a:ext>
                </a:extLst>
              </p:cNvPr>
              <p:cNvSpPr/>
              <p:nvPr/>
            </p:nvSpPr>
            <p:spPr>
              <a:xfrm>
                <a:off x="134111" y="5832348"/>
                <a:ext cx="2202180" cy="312420"/>
              </a:xfrm>
              <a:custGeom>
                <a:avLst/>
                <a:gdLst/>
                <a:ahLst/>
                <a:cxnLst/>
                <a:rect l="l" t="t" r="r" b="b"/>
                <a:pathLst>
                  <a:path w="2202180" h="312420">
                    <a:moveTo>
                      <a:pt x="0" y="52069"/>
                    </a:moveTo>
                    <a:lnTo>
                      <a:pt x="4092" y="31803"/>
                    </a:lnTo>
                    <a:lnTo>
                      <a:pt x="15252" y="15252"/>
                    </a:lnTo>
                    <a:lnTo>
                      <a:pt x="31803" y="4092"/>
                    </a:lnTo>
                    <a:lnTo>
                      <a:pt x="52069" y="0"/>
                    </a:lnTo>
                    <a:lnTo>
                      <a:pt x="2150110" y="0"/>
                    </a:lnTo>
                    <a:lnTo>
                      <a:pt x="2170354" y="4092"/>
                    </a:lnTo>
                    <a:lnTo>
                      <a:pt x="2186908" y="15252"/>
                    </a:lnTo>
                    <a:lnTo>
                      <a:pt x="2198080" y="31803"/>
                    </a:lnTo>
                    <a:lnTo>
                      <a:pt x="2202180" y="52069"/>
                    </a:lnTo>
                    <a:lnTo>
                      <a:pt x="2202180" y="260349"/>
                    </a:lnTo>
                    <a:lnTo>
                      <a:pt x="2198080" y="280616"/>
                    </a:lnTo>
                    <a:lnTo>
                      <a:pt x="2186908" y="297167"/>
                    </a:lnTo>
                    <a:lnTo>
                      <a:pt x="2170354" y="308327"/>
                    </a:lnTo>
                    <a:lnTo>
                      <a:pt x="2150110" y="312419"/>
                    </a:lnTo>
                    <a:lnTo>
                      <a:pt x="52069" y="312419"/>
                    </a:lnTo>
                    <a:lnTo>
                      <a:pt x="31803" y="308327"/>
                    </a:lnTo>
                    <a:lnTo>
                      <a:pt x="15252" y="297167"/>
                    </a:lnTo>
                    <a:lnTo>
                      <a:pt x="4092" y="280616"/>
                    </a:lnTo>
                    <a:lnTo>
                      <a:pt x="0" y="260349"/>
                    </a:lnTo>
                    <a:lnTo>
                      <a:pt x="0" y="52069"/>
                    </a:lnTo>
                    <a:close/>
                  </a:path>
                </a:pathLst>
              </a:custGeom>
              <a:ln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9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9" name="object 76">
              <a:extLst>
                <a:ext uri="{FF2B5EF4-FFF2-40B4-BE49-F238E27FC236}">
                  <a16:creationId xmlns:a16="http://schemas.microsoft.com/office/drawing/2014/main" id="{23150F3D-3430-946C-6870-2AE8B28E2458}"/>
                </a:ext>
              </a:extLst>
            </p:cNvPr>
            <p:cNvSpPr txBox="1"/>
            <p:nvPr/>
          </p:nvSpPr>
          <p:spPr>
            <a:xfrm>
              <a:off x="4163937" y="3447166"/>
              <a:ext cx="2186304" cy="291167"/>
            </a:xfrm>
            <a:prstGeom prst="rect">
              <a:avLst/>
            </a:prstGeom>
          </p:spPr>
          <p:txBody>
            <a:bodyPr vert="horz" wrap="square" lIns="0" tIns="16087" rIns="0" bIns="0" rtlCol="0">
              <a:spAutoFit/>
            </a:bodyPr>
            <a:lstStyle/>
            <a:p>
              <a:pPr marL="618051">
                <a:spcBef>
                  <a:spcPts val="127"/>
                </a:spcBef>
              </a:pPr>
              <a:r>
                <a:rPr sz="800" b="1" spc="-13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икроклимат</a:t>
              </a:r>
              <a:endParaRPr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0" name="object 77">
              <a:extLst>
                <a:ext uri="{FF2B5EF4-FFF2-40B4-BE49-F238E27FC236}">
                  <a16:creationId xmlns:a16="http://schemas.microsoft.com/office/drawing/2014/main" id="{6087ADDA-856A-FC68-B7DB-F9C1D99439B8}"/>
                </a:ext>
              </a:extLst>
            </p:cNvPr>
            <p:cNvGrpSpPr/>
            <p:nvPr/>
          </p:nvGrpSpPr>
          <p:grpSpPr>
            <a:xfrm>
              <a:off x="4149699" y="3816176"/>
              <a:ext cx="2214880" cy="325120"/>
              <a:chOff x="128015" y="6213347"/>
              <a:chExt cx="2214880" cy="325120"/>
            </a:xfrm>
          </p:grpSpPr>
          <p:sp>
            <p:nvSpPr>
              <p:cNvPr id="58" name="object 78">
                <a:extLst>
                  <a:ext uri="{FF2B5EF4-FFF2-40B4-BE49-F238E27FC236}">
                    <a16:creationId xmlns:a16="http://schemas.microsoft.com/office/drawing/2014/main" id="{3EE260D9-CD9A-1DD3-E646-9B63E2F1E11A}"/>
                  </a:ext>
                </a:extLst>
              </p:cNvPr>
              <p:cNvSpPr/>
              <p:nvPr/>
            </p:nvSpPr>
            <p:spPr>
              <a:xfrm>
                <a:off x="134111" y="6219443"/>
                <a:ext cx="2202180" cy="312420"/>
              </a:xfrm>
              <a:custGeom>
                <a:avLst/>
                <a:gdLst/>
                <a:ahLst/>
                <a:cxnLst/>
                <a:rect l="l" t="t" r="r" b="b"/>
                <a:pathLst>
                  <a:path w="2202180" h="312420">
                    <a:moveTo>
                      <a:pt x="2150110" y="0"/>
                    </a:moveTo>
                    <a:lnTo>
                      <a:pt x="52069" y="0"/>
                    </a:lnTo>
                    <a:lnTo>
                      <a:pt x="31803" y="4092"/>
                    </a:lnTo>
                    <a:lnTo>
                      <a:pt x="15252" y="15252"/>
                    </a:lnTo>
                    <a:lnTo>
                      <a:pt x="4092" y="31803"/>
                    </a:lnTo>
                    <a:lnTo>
                      <a:pt x="0" y="52069"/>
                    </a:lnTo>
                    <a:lnTo>
                      <a:pt x="0" y="260349"/>
                    </a:lnTo>
                    <a:lnTo>
                      <a:pt x="4092" y="280616"/>
                    </a:lnTo>
                    <a:lnTo>
                      <a:pt x="15252" y="297167"/>
                    </a:lnTo>
                    <a:lnTo>
                      <a:pt x="31803" y="308327"/>
                    </a:lnTo>
                    <a:lnTo>
                      <a:pt x="52069" y="312419"/>
                    </a:lnTo>
                    <a:lnTo>
                      <a:pt x="2150110" y="312419"/>
                    </a:lnTo>
                    <a:lnTo>
                      <a:pt x="2170354" y="308327"/>
                    </a:lnTo>
                    <a:lnTo>
                      <a:pt x="2186908" y="297167"/>
                    </a:lnTo>
                    <a:lnTo>
                      <a:pt x="2198080" y="280616"/>
                    </a:lnTo>
                    <a:lnTo>
                      <a:pt x="2202180" y="260349"/>
                    </a:lnTo>
                    <a:lnTo>
                      <a:pt x="2202180" y="52069"/>
                    </a:lnTo>
                    <a:lnTo>
                      <a:pt x="2198080" y="31803"/>
                    </a:lnTo>
                    <a:lnTo>
                      <a:pt x="2186908" y="15252"/>
                    </a:lnTo>
                    <a:lnTo>
                      <a:pt x="2170354" y="4092"/>
                    </a:lnTo>
                    <a:lnTo>
                      <a:pt x="2150110" y="0"/>
                    </a:lnTo>
                    <a:close/>
                  </a:path>
                </a:pathLst>
              </a:cu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9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object 79">
                <a:extLst>
                  <a:ext uri="{FF2B5EF4-FFF2-40B4-BE49-F238E27FC236}">
                    <a16:creationId xmlns:a16="http://schemas.microsoft.com/office/drawing/2014/main" id="{33CBCCF3-81AD-5DC4-F5D0-541F02CF0D2B}"/>
                  </a:ext>
                </a:extLst>
              </p:cNvPr>
              <p:cNvSpPr/>
              <p:nvPr/>
            </p:nvSpPr>
            <p:spPr>
              <a:xfrm>
                <a:off x="134111" y="6219443"/>
                <a:ext cx="2202180" cy="312420"/>
              </a:xfrm>
              <a:custGeom>
                <a:avLst/>
                <a:gdLst/>
                <a:ahLst/>
                <a:cxnLst/>
                <a:rect l="l" t="t" r="r" b="b"/>
                <a:pathLst>
                  <a:path w="2202180" h="312420">
                    <a:moveTo>
                      <a:pt x="0" y="52069"/>
                    </a:moveTo>
                    <a:lnTo>
                      <a:pt x="4092" y="31803"/>
                    </a:lnTo>
                    <a:lnTo>
                      <a:pt x="15252" y="15252"/>
                    </a:lnTo>
                    <a:lnTo>
                      <a:pt x="31803" y="4092"/>
                    </a:lnTo>
                    <a:lnTo>
                      <a:pt x="52069" y="0"/>
                    </a:lnTo>
                    <a:lnTo>
                      <a:pt x="2150110" y="0"/>
                    </a:lnTo>
                    <a:lnTo>
                      <a:pt x="2170354" y="4092"/>
                    </a:lnTo>
                    <a:lnTo>
                      <a:pt x="2186908" y="15252"/>
                    </a:lnTo>
                    <a:lnTo>
                      <a:pt x="2198080" y="31803"/>
                    </a:lnTo>
                    <a:lnTo>
                      <a:pt x="2202180" y="52069"/>
                    </a:lnTo>
                    <a:lnTo>
                      <a:pt x="2202180" y="260349"/>
                    </a:lnTo>
                    <a:lnTo>
                      <a:pt x="2198080" y="280616"/>
                    </a:lnTo>
                    <a:lnTo>
                      <a:pt x="2186908" y="297167"/>
                    </a:lnTo>
                    <a:lnTo>
                      <a:pt x="2170354" y="308327"/>
                    </a:lnTo>
                    <a:lnTo>
                      <a:pt x="2150110" y="312419"/>
                    </a:lnTo>
                    <a:lnTo>
                      <a:pt x="52069" y="312419"/>
                    </a:lnTo>
                    <a:lnTo>
                      <a:pt x="31803" y="308327"/>
                    </a:lnTo>
                    <a:lnTo>
                      <a:pt x="15252" y="297167"/>
                    </a:lnTo>
                    <a:lnTo>
                      <a:pt x="4092" y="280616"/>
                    </a:lnTo>
                    <a:lnTo>
                      <a:pt x="0" y="260349"/>
                    </a:lnTo>
                    <a:lnTo>
                      <a:pt x="0" y="52069"/>
                    </a:lnTo>
                    <a:close/>
                  </a:path>
                </a:pathLst>
              </a:custGeom>
              <a:ln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/>
              <a:lstStyle/>
              <a:p>
                <a:endParaRPr sz="933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" name="object 80">
              <a:extLst>
                <a:ext uri="{FF2B5EF4-FFF2-40B4-BE49-F238E27FC236}">
                  <a16:creationId xmlns:a16="http://schemas.microsoft.com/office/drawing/2014/main" id="{457A6B86-9EE9-4035-E0E0-1516618A7C7B}"/>
                </a:ext>
              </a:extLst>
            </p:cNvPr>
            <p:cNvSpPr txBox="1"/>
            <p:nvPr/>
          </p:nvSpPr>
          <p:spPr>
            <a:xfrm>
              <a:off x="4163937" y="3834564"/>
              <a:ext cx="2186304" cy="291167"/>
            </a:xfrm>
            <a:prstGeom prst="rect">
              <a:avLst/>
            </a:prstGeom>
          </p:spPr>
          <p:txBody>
            <a:bodyPr vert="horz" wrap="square" lIns="0" tIns="16087" rIns="0" bIns="0" rtlCol="0">
              <a:spAutoFit/>
            </a:bodyPr>
            <a:lstStyle/>
            <a:p>
              <a:pPr marL="607891">
                <a:spcBef>
                  <a:spcPts val="127"/>
                </a:spcBef>
              </a:pPr>
              <a:r>
                <a:rPr sz="800" b="1" spc="-13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свещенность</a:t>
              </a:r>
              <a:endParaRPr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object 81">
              <a:extLst>
                <a:ext uri="{FF2B5EF4-FFF2-40B4-BE49-F238E27FC236}">
                  <a16:creationId xmlns:a16="http://schemas.microsoft.com/office/drawing/2014/main" id="{A07F45F3-6646-1B90-A40C-9D75858B938A}"/>
                </a:ext>
              </a:extLst>
            </p:cNvPr>
            <p:cNvSpPr txBox="1"/>
            <p:nvPr/>
          </p:nvSpPr>
          <p:spPr>
            <a:xfrm>
              <a:off x="6777107" y="2639007"/>
              <a:ext cx="958669" cy="48122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lang="ru-RU" sz="1067" b="1" spc="-25" dirty="0">
                  <a:latin typeface="Arial" panose="020B0604020202020204" pitchFamily="34" charset="0"/>
                  <a:cs typeface="Arial" panose="020B0604020202020204" pitchFamily="34" charset="0"/>
                </a:rPr>
                <a:t>4 074</a:t>
              </a:r>
            </a:p>
            <a:p>
              <a:pPr marL="12700">
                <a:spcBef>
                  <a:spcPts val="95"/>
                </a:spcBef>
              </a:pPr>
              <a:endParaRPr sz="2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object 81">
              <a:extLst>
                <a:ext uri="{FF2B5EF4-FFF2-40B4-BE49-F238E27FC236}">
                  <a16:creationId xmlns:a16="http://schemas.microsoft.com/office/drawing/2014/main" id="{0EBF5EA8-D5C7-E4B8-0370-062088FA338F}"/>
                </a:ext>
              </a:extLst>
            </p:cNvPr>
            <p:cNvSpPr txBox="1"/>
            <p:nvPr/>
          </p:nvSpPr>
          <p:spPr>
            <a:xfrm>
              <a:off x="6781684" y="3071057"/>
              <a:ext cx="958669" cy="48122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lang="ru-RU" sz="1067" b="1" spc="-25" dirty="0">
                  <a:latin typeface="Arial" panose="020B0604020202020204" pitchFamily="34" charset="0"/>
                  <a:cs typeface="Arial" panose="020B0604020202020204" pitchFamily="34" charset="0"/>
                </a:rPr>
                <a:t>631</a:t>
              </a:r>
            </a:p>
            <a:p>
              <a:pPr marL="12700">
                <a:spcBef>
                  <a:spcPts val="95"/>
                </a:spcBef>
              </a:pPr>
              <a:endParaRPr sz="2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object 81">
              <a:extLst>
                <a:ext uri="{FF2B5EF4-FFF2-40B4-BE49-F238E27FC236}">
                  <a16:creationId xmlns:a16="http://schemas.microsoft.com/office/drawing/2014/main" id="{04772B92-CF6B-0504-E13B-F744F5351808}"/>
                </a:ext>
              </a:extLst>
            </p:cNvPr>
            <p:cNvSpPr txBox="1"/>
            <p:nvPr/>
          </p:nvSpPr>
          <p:spPr>
            <a:xfrm>
              <a:off x="6781684" y="3431095"/>
              <a:ext cx="958669" cy="48122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sz="1067" b="1" spc="-25" dirty="0"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r>
                <a:rPr lang="ru-RU" sz="1067" b="1" spc="-25" dirty="0">
                  <a:latin typeface="Arial" panose="020B0604020202020204" pitchFamily="34" charset="0"/>
                  <a:cs typeface="Arial" panose="020B0604020202020204" pitchFamily="34" charset="0"/>
                </a:rPr>
                <a:t> 227</a:t>
              </a:r>
            </a:p>
            <a:p>
              <a:pPr marL="12700">
                <a:spcBef>
                  <a:spcPts val="95"/>
                </a:spcBef>
              </a:pPr>
              <a:endParaRPr sz="2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object 81">
              <a:extLst>
                <a:ext uri="{FF2B5EF4-FFF2-40B4-BE49-F238E27FC236}">
                  <a16:creationId xmlns:a16="http://schemas.microsoft.com/office/drawing/2014/main" id="{A21B83B2-8FE8-15F7-93ED-6C309DB9A1F1}"/>
                </a:ext>
              </a:extLst>
            </p:cNvPr>
            <p:cNvSpPr txBox="1"/>
            <p:nvPr/>
          </p:nvSpPr>
          <p:spPr>
            <a:xfrm>
              <a:off x="6781684" y="3818543"/>
              <a:ext cx="958669" cy="48122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lang="ru-RU" sz="1067" b="1" spc="-25" dirty="0">
                  <a:latin typeface="Arial" panose="020B0604020202020204" pitchFamily="34" charset="0"/>
                  <a:cs typeface="Arial" panose="020B0604020202020204" pitchFamily="34" charset="0"/>
                </a:rPr>
                <a:t>4 460</a:t>
              </a:r>
            </a:p>
            <a:p>
              <a:pPr marL="12700">
                <a:spcBef>
                  <a:spcPts val="95"/>
                </a:spcBef>
              </a:pPr>
              <a:endParaRPr sz="2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object 81">
              <a:extLst>
                <a:ext uri="{FF2B5EF4-FFF2-40B4-BE49-F238E27FC236}">
                  <a16:creationId xmlns:a16="http://schemas.microsoft.com/office/drawing/2014/main" id="{9D7E36B1-A479-0461-6352-A38AB1751B8A}"/>
                </a:ext>
              </a:extLst>
            </p:cNvPr>
            <p:cNvSpPr txBox="1"/>
            <p:nvPr/>
          </p:nvSpPr>
          <p:spPr>
            <a:xfrm>
              <a:off x="6759119" y="2234367"/>
              <a:ext cx="958669" cy="48122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sz="1067" b="1" dirty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sz="1067" b="1" spc="-5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067" b="1" spc="-25" dirty="0">
                  <a:latin typeface="Arial" panose="020B0604020202020204" pitchFamily="34" charset="0"/>
                  <a:cs typeface="Arial" panose="020B0604020202020204" pitchFamily="34" charset="0"/>
                </a:rPr>
                <a:t>254</a:t>
              </a:r>
              <a:endParaRPr lang="ru-RU" sz="1067" b="1" spc="-25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2700">
                <a:spcBef>
                  <a:spcPts val="95"/>
                </a:spcBef>
              </a:pPr>
              <a:endParaRPr sz="2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object 81">
              <a:extLst>
                <a:ext uri="{FF2B5EF4-FFF2-40B4-BE49-F238E27FC236}">
                  <a16:creationId xmlns:a16="http://schemas.microsoft.com/office/drawing/2014/main" id="{49B5D47C-7372-C5DE-CE07-983C448CF259}"/>
                </a:ext>
              </a:extLst>
            </p:cNvPr>
            <p:cNvSpPr txBox="1"/>
            <p:nvPr/>
          </p:nvSpPr>
          <p:spPr>
            <a:xfrm>
              <a:off x="8219532" y="2211708"/>
              <a:ext cx="532541" cy="48122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lang="ru-RU" sz="1067" b="1" spc="-25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9</a:t>
              </a:r>
            </a:p>
            <a:p>
              <a:pPr marL="12700">
                <a:spcBef>
                  <a:spcPts val="95"/>
                </a:spcBef>
              </a:pPr>
              <a:endParaRPr sz="267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object 81">
              <a:extLst>
                <a:ext uri="{FF2B5EF4-FFF2-40B4-BE49-F238E27FC236}">
                  <a16:creationId xmlns:a16="http://schemas.microsoft.com/office/drawing/2014/main" id="{8CC938DB-7F9D-3101-DD71-86EC3A339F4C}"/>
                </a:ext>
              </a:extLst>
            </p:cNvPr>
            <p:cNvSpPr txBox="1"/>
            <p:nvPr/>
          </p:nvSpPr>
          <p:spPr>
            <a:xfrm>
              <a:off x="8291864" y="2559867"/>
              <a:ext cx="367031" cy="48122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lang="ru-RU" sz="1067" b="1" spc="-25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r>
                <a:rPr sz="1067" b="1" spc="-25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067" b="1" spc="-2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2700">
                <a:spcBef>
                  <a:spcPts val="95"/>
                </a:spcBef>
              </a:pPr>
              <a:endParaRPr sz="267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object 81">
              <a:extLst>
                <a:ext uri="{FF2B5EF4-FFF2-40B4-BE49-F238E27FC236}">
                  <a16:creationId xmlns:a16="http://schemas.microsoft.com/office/drawing/2014/main" id="{057321BF-FA14-CE4B-F3C8-8F16394301E0}"/>
                </a:ext>
              </a:extLst>
            </p:cNvPr>
            <p:cNvSpPr txBox="1"/>
            <p:nvPr/>
          </p:nvSpPr>
          <p:spPr>
            <a:xfrm>
              <a:off x="8363870" y="2956521"/>
              <a:ext cx="367031" cy="48122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lang="ru-RU" sz="1067" b="1" spc="-25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</a:p>
            <a:p>
              <a:pPr marL="12700">
                <a:spcBef>
                  <a:spcPts val="95"/>
                </a:spcBef>
              </a:pPr>
              <a:endParaRPr sz="267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object 81">
              <a:extLst>
                <a:ext uri="{FF2B5EF4-FFF2-40B4-BE49-F238E27FC236}">
                  <a16:creationId xmlns:a16="http://schemas.microsoft.com/office/drawing/2014/main" id="{E652E7E3-1A96-423F-761F-0C8E08A5B494}"/>
                </a:ext>
              </a:extLst>
            </p:cNvPr>
            <p:cNvSpPr txBox="1"/>
            <p:nvPr/>
          </p:nvSpPr>
          <p:spPr>
            <a:xfrm>
              <a:off x="8219857" y="3371376"/>
              <a:ext cx="649294" cy="48122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lang="ru-RU" sz="1067" b="1" spc="-25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2</a:t>
              </a:r>
            </a:p>
            <a:p>
              <a:pPr marL="12700">
                <a:spcBef>
                  <a:spcPts val="95"/>
                </a:spcBef>
              </a:pPr>
              <a:endParaRPr sz="267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object 81">
              <a:extLst>
                <a:ext uri="{FF2B5EF4-FFF2-40B4-BE49-F238E27FC236}">
                  <a16:creationId xmlns:a16="http://schemas.microsoft.com/office/drawing/2014/main" id="{8EA5200F-6B49-7FD2-FD70-B85F0386CC1B}"/>
                </a:ext>
              </a:extLst>
            </p:cNvPr>
            <p:cNvSpPr txBox="1"/>
            <p:nvPr/>
          </p:nvSpPr>
          <p:spPr>
            <a:xfrm>
              <a:off x="8221842" y="3725624"/>
              <a:ext cx="670638" cy="48122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0" tIns="12065" rIns="0" bIns="0" rtlCol="0">
              <a:spAutoFit/>
            </a:bodyPr>
            <a:lstStyle/>
            <a:p>
              <a:pPr marL="12700">
                <a:spcBef>
                  <a:spcPts val="95"/>
                </a:spcBef>
              </a:pPr>
              <a:r>
                <a:rPr lang="ru-RU" sz="1067" b="1" spc="-25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47</a:t>
              </a:r>
            </a:p>
            <a:p>
              <a:pPr marL="12700">
                <a:spcBef>
                  <a:spcPts val="95"/>
                </a:spcBef>
              </a:pPr>
              <a:endParaRPr sz="267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F5062635-892A-F2A1-A569-8381B886E6B2}"/>
              </a:ext>
            </a:extLst>
          </p:cNvPr>
          <p:cNvSpPr txBox="1"/>
          <p:nvPr/>
        </p:nvSpPr>
        <p:spPr>
          <a:xfrm>
            <a:off x="11770993" y="6488668"/>
            <a:ext cx="407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KZ" sz="1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28FC4E29-FA8E-96BF-C55A-D2ED280EBC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7488" y="905165"/>
            <a:ext cx="2915689" cy="2825380"/>
          </a:xfrm>
          <a:prstGeom prst="rect">
            <a:avLst/>
          </a:prstGeom>
        </p:spPr>
      </p:pic>
      <p:pic>
        <p:nvPicPr>
          <p:cNvPr id="75" name="Рисунок 74">
            <a:extLst>
              <a:ext uri="{FF2B5EF4-FFF2-40B4-BE49-F238E27FC236}">
                <a16:creationId xmlns:a16="http://schemas.microsoft.com/office/drawing/2014/main" id="{5CFE9F6C-E619-2D32-2A5D-1ED02F6690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048" y="3819584"/>
            <a:ext cx="5691909" cy="86214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6A5B7AD-75F6-A30E-0202-A16275721B48}"/>
              </a:ext>
            </a:extLst>
          </p:cNvPr>
          <p:cNvSpPr txBox="1"/>
          <p:nvPr/>
        </p:nvSpPr>
        <p:spPr>
          <a:xfrm>
            <a:off x="239351" y="6476441"/>
            <a:ext cx="7200799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67" i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*По данным Санитарно-эпидемиологического контроля Министерства здравохранения Республики Казахстан</a:t>
            </a:r>
          </a:p>
        </p:txBody>
      </p:sp>
    </p:spTree>
    <p:extLst>
      <p:ext uri="{BB962C8B-B14F-4D97-AF65-F5344CB8AC3E}">
        <p14:creationId xmlns:p14="http://schemas.microsoft.com/office/powerpoint/2010/main" val="2703180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任意多边形 18">
            <a:extLst>
              <a:ext uri="{FF2B5EF4-FFF2-40B4-BE49-F238E27FC236}">
                <a16:creationId xmlns:a16="http://schemas.microsoft.com/office/drawing/2014/main" id="{71A0C62E-A4A3-46C5-9CD3-76D7E619FFA8}"/>
              </a:ext>
            </a:extLst>
          </p:cNvPr>
          <p:cNvSpPr/>
          <p:nvPr/>
        </p:nvSpPr>
        <p:spPr>
          <a:xfrm rot="10800000">
            <a:off x="11202287" y="5570745"/>
            <a:ext cx="724511" cy="642564"/>
          </a:xfrm>
          <a:custGeom>
            <a:avLst/>
            <a:gdLst>
              <a:gd name="connsiteX0" fmla="*/ 264349 w 1760619"/>
              <a:gd name="connsiteY0" fmla="*/ 0 h 528698"/>
              <a:gd name="connsiteX1" fmla="*/ 1760619 w 1760619"/>
              <a:gd name="connsiteY1" fmla="*/ 0 h 528698"/>
              <a:gd name="connsiteX2" fmla="*/ 1760619 w 1760619"/>
              <a:gd name="connsiteY2" fmla="*/ 528698 h 528698"/>
              <a:gd name="connsiteX3" fmla="*/ 264349 w 1760619"/>
              <a:gd name="connsiteY3" fmla="*/ 528698 h 528698"/>
              <a:gd name="connsiteX4" fmla="*/ 0 w 1760619"/>
              <a:gd name="connsiteY4" fmla="*/ 264349 h 528698"/>
              <a:gd name="connsiteX5" fmla="*/ 264349 w 1760619"/>
              <a:gd name="connsiteY5" fmla="*/ 0 h 52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60619" h="528698">
                <a:moveTo>
                  <a:pt x="264349" y="0"/>
                </a:moveTo>
                <a:lnTo>
                  <a:pt x="1760619" y="0"/>
                </a:lnTo>
                <a:lnTo>
                  <a:pt x="1760619" y="528698"/>
                </a:lnTo>
                <a:lnTo>
                  <a:pt x="264349" y="528698"/>
                </a:lnTo>
                <a:cubicBezTo>
                  <a:pt x="118353" y="528698"/>
                  <a:pt x="0" y="410345"/>
                  <a:pt x="0" y="264349"/>
                </a:cubicBezTo>
                <a:cubicBezTo>
                  <a:pt x="0" y="118353"/>
                  <a:pt x="118353" y="0"/>
                  <a:pt x="264349" y="0"/>
                </a:cubicBezTo>
                <a:close/>
              </a:path>
            </a:pathLst>
          </a:custGeom>
          <a:pattFill prst="wd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任意多边形 18">
            <a:extLst>
              <a:ext uri="{FF2B5EF4-FFF2-40B4-BE49-F238E27FC236}">
                <a16:creationId xmlns:a16="http://schemas.microsoft.com/office/drawing/2014/main" id="{3B28AD20-D1E2-2E51-55DC-B7C940B6BA63}"/>
              </a:ext>
            </a:extLst>
          </p:cNvPr>
          <p:cNvSpPr/>
          <p:nvPr/>
        </p:nvSpPr>
        <p:spPr>
          <a:xfrm rot="10800000">
            <a:off x="11197569" y="4549190"/>
            <a:ext cx="724511" cy="642564"/>
          </a:xfrm>
          <a:custGeom>
            <a:avLst/>
            <a:gdLst>
              <a:gd name="connsiteX0" fmla="*/ 264349 w 1760619"/>
              <a:gd name="connsiteY0" fmla="*/ 0 h 528698"/>
              <a:gd name="connsiteX1" fmla="*/ 1760619 w 1760619"/>
              <a:gd name="connsiteY1" fmla="*/ 0 h 528698"/>
              <a:gd name="connsiteX2" fmla="*/ 1760619 w 1760619"/>
              <a:gd name="connsiteY2" fmla="*/ 528698 h 528698"/>
              <a:gd name="connsiteX3" fmla="*/ 264349 w 1760619"/>
              <a:gd name="connsiteY3" fmla="*/ 528698 h 528698"/>
              <a:gd name="connsiteX4" fmla="*/ 0 w 1760619"/>
              <a:gd name="connsiteY4" fmla="*/ 264349 h 528698"/>
              <a:gd name="connsiteX5" fmla="*/ 264349 w 1760619"/>
              <a:gd name="connsiteY5" fmla="*/ 0 h 52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60619" h="528698">
                <a:moveTo>
                  <a:pt x="264349" y="0"/>
                </a:moveTo>
                <a:lnTo>
                  <a:pt x="1760619" y="0"/>
                </a:lnTo>
                <a:lnTo>
                  <a:pt x="1760619" y="528698"/>
                </a:lnTo>
                <a:lnTo>
                  <a:pt x="264349" y="528698"/>
                </a:lnTo>
                <a:cubicBezTo>
                  <a:pt x="118353" y="528698"/>
                  <a:pt x="0" y="410345"/>
                  <a:pt x="0" y="264349"/>
                </a:cubicBezTo>
                <a:cubicBezTo>
                  <a:pt x="0" y="118353"/>
                  <a:pt x="118353" y="0"/>
                  <a:pt x="264349" y="0"/>
                </a:cubicBezTo>
                <a:close/>
              </a:path>
            </a:pathLst>
          </a:custGeom>
          <a:pattFill prst="wd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任意多边形 18">
            <a:extLst>
              <a:ext uri="{FF2B5EF4-FFF2-40B4-BE49-F238E27FC236}">
                <a16:creationId xmlns:a16="http://schemas.microsoft.com/office/drawing/2014/main" id="{0248881F-C97A-88D4-21EF-7ADAF8EA7563}"/>
              </a:ext>
            </a:extLst>
          </p:cNvPr>
          <p:cNvSpPr/>
          <p:nvPr/>
        </p:nvSpPr>
        <p:spPr>
          <a:xfrm rot="10800000">
            <a:off x="10304617" y="1940852"/>
            <a:ext cx="1681428" cy="673209"/>
          </a:xfrm>
          <a:custGeom>
            <a:avLst/>
            <a:gdLst>
              <a:gd name="connsiteX0" fmla="*/ 264349 w 1760619"/>
              <a:gd name="connsiteY0" fmla="*/ 0 h 528698"/>
              <a:gd name="connsiteX1" fmla="*/ 1760619 w 1760619"/>
              <a:gd name="connsiteY1" fmla="*/ 0 h 528698"/>
              <a:gd name="connsiteX2" fmla="*/ 1760619 w 1760619"/>
              <a:gd name="connsiteY2" fmla="*/ 528698 h 528698"/>
              <a:gd name="connsiteX3" fmla="*/ 264349 w 1760619"/>
              <a:gd name="connsiteY3" fmla="*/ 528698 h 528698"/>
              <a:gd name="connsiteX4" fmla="*/ 0 w 1760619"/>
              <a:gd name="connsiteY4" fmla="*/ 264349 h 528698"/>
              <a:gd name="connsiteX5" fmla="*/ 264349 w 1760619"/>
              <a:gd name="connsiteY5" fmla="*/ 0 h 52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60619" h="528698">
                <a:moveTo>
                  <a:pt x="264349" y="0"/>
                </a:moveTo>
                <a:lnTo>
                  <a:pt x="1760619" y="0"/>
                </a:lnTo>
                <a:lnTo>
                  <a:pt x="1760619" y="528698"/>
                </a:lnTo>
                <a:lnTo>
                  <a:pt x="264349" y="528698"/>
                </a:lnTo>
                <a:cubicBezTo>
                  <a:pt x="118353" y="528698"/>
                  <a:pt x="0" y="410345"/>
                  <a:pt x="0" y="264349"/>
                </a:cubicBezTo>
                <a:cubicBezTo>
                  <a:pt x="0" y="118353"/>
                  <a:pt x="118353" y="0"/>
                  <a:pt x="264349" y="0"/>
                </a:cubicBezTo>
                <a:close/>
              </a:path>
            </a:pathLst>
          </a:custGeom>
          <a:pattFill prst="wd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任意多边形 18">
            <a:extLst>
              <a:ext uri="{FF2B5EF4-FFF2-40B4-BE49-F238E27FC236}">
                <a16:creationId xmlns:a16="http://schemas.microsoft.com/office/drawing/2014/main" id="{16CB2F11-FAAC-64AC-E6E2-E7E560369679}"/>
              </a:ext>
            </a:extLst>
          </p:cNvPr>
          <p:cNvSpPr/>
          <p:nvPr/>
        </p:nvSpPr>
        <p:spPr>
          <a:xfrm rot="10800000">
            <a:off x="10777758" y="3170475"/>
            <a:ext cx="1163156" cy="642564"/>
          </a:xfrm>
          <a:custGeom>
            <a:avLst/>
            <a:gdLst>
              <a:gd name="connsiteX0" fmla="*/ 264349 w 1760619"/>
              <a:gd name="connsiteY0" fmla="*/ 0 h 528698"/>
              <a:gd name="connsiteX1" fmla="*/ 1760619 w 1760619"/>
              <a:gd name="connsiteY1" fmla="*/ 0 h 528698"/>
              <a:gd name="connsiteX2" fmla="*/ 1760619 w 1760619"/>
              <a:gd name="connsiteY2" fmla="*/ 528698 h 528698"/>
              <a:gd name="connsiteX3" fmla="*/ 264349 w 1760619"/>
              <a:gd name="connsiteY3" fmla="*/ 528698 h 528698"/>
              <a:gd name="connsiteX4" fmla="*/ 0 w 1760619"/>
              <a:gd name="connsiteY4" fmla="*/ 264349 h 528698"/>
              <a:gd name="connsiteX5" fmla="*/ 264349 w 1760619"/>
              <a:gd name="connsiteY5" fmla="*/ 0 h 52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60619" h="528698">
                <a:moveTo>
                  <a:pt x="264349" y="0"/>
                </a:moveTo>
                <a:lnTo>
                  <a:pt x="1760619" y="0"/>
                </a:lnTo>
                <a:lnTo>
                  <a:pt x="1760619" y="528698"/>
                </a:lnTo>
                <a:lnTo>
                  <a:pt x="264349" y="528698"/>
                </a:lnTo>
                <a:cubicBezTo>
                  <a:pt x="118353" y="528698"/>
                  <a:pt x="0" y="410345"/>
                  <a:pt x="0" y="264349"/>
                </a:cubicBezTo>
                <a:cubicBezTo>
                  <a:pt x="0" y="118353"/>
                  <a:pt x="118353" y="0"/>
                  <a:pt x="264349" y="0"/>
                </a:cubicBezTo>
                <a:close/>
              </a:path>
            </a:pathLst>
          </a:custGeom>
          <a:pattFill prst="wd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26205" y="154569"/>
            <a:ext cx="85395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ДЛАГАЕМЫЕ МЕРЫ: ПРЕДУПРЕЖДЕНИЕ </a:t>
            </a:r>
          </a:p>
          <a:p>
            <a:pPr algn="ctr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ИСКОВ И ПРОФИЛАКТИКА ТРАВМАТИЗМА</a:t>
            </a:r>
          </a:p>
        </p:txBody>
      </p:sp>
      <p:grpSp>
        <p:nvGrpSpPr>
          <p:cNvPr id="172" name="Group 41"/>
          <p:cNvGrpSpPr>
            <a:grpSpLocks noChangeAspect="1"/>
          </p:cNvGrpSpPr>
          <p:nvPr/>
        </p:nvGrpSpPr>
        <p:grpSpPr bwMode="auto">
          <a:xfrm>
            <a:off x="8778940" y="2049709"/>
            <a:ext cx="155928" cy="442828"/>
            <a:chOff x="3791" y="2089"/>
            <a:chExt cx="53" cy="142"/>
          </a:xfrm>
          <a:solidFill>
            <a:schemeClr val="bg1"/>
          </a:solidFill>
          <a:effectLst/>
        </p:grpSpPr>
        <p:sp>
          <p:nvSpPr>
            <p:cNvPr id="173" name="Freeform 42"/>
            <p:cNvSpPr>
              <a:spLocks/>
            </p:cNvSpPr>
            <p:nvPr/>
          </p:nvSpPr>
          <p:spPr bwMode="auto">
            <a:xfrm>
              <a:off x="3791" y="2221"/>
              <a:ext cx="20" cy="10"/>
            </a:xfrm>
            <a:custGeom>
              <a:avLst/>
              <a:gdLst>
                <a:gd name="T0" fmla="*/ 8 w 8"/>
                <a:gd name="T1" fmla="*/ 0 h 4"/>
                <a:gd name="T2" fmla="*/ 1 w 8"/>
                <a:gd name="T3" fmla="*/ 0 h 4"/>
                <a:gd name="T4" fmla="*/ 0 w 8"/>
                <a:gd name="T5" fmla="*/ 0 h 4"/>
                <a:gd name="T6" fmla="*/ 0 w 8"/>
                <a:gd name="T7" fmla="*/ 4 h 4"/>
                <a:gd name="T8" fmla="*/ 1 w 8"/>
                <a:gd name="T9" fmla="*/ 4 h 4"/>
                <a:gd name="T10" fmla="*/ 8 w 8"/>
                <a:gd name="T11" fmla="*/ 4 h 4"/>
                <a:gd name="T12" fmla="*/ 8 w 8"/>
                <a:gd name="T13" fmla="*/ 4 h 4"/>
                <a:gd name="T14" fmla="*/ 8 w 8"/>
                <a:gd name="T15" fmla="*/ 0 h 4"/>
                <a:gd name="T16" fmla="*/ 8 w 8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rgbClr val="FFB85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77" name="Freeform 46"/>
            <p:cNvSpPr>
              <a:spLocks/>
            </p:cNvSpPr>
            <p:nvPr/>
          </p:nvSpPr>
          <p:spPr bwMode="auto">
            <a:xfrm>
              <a:off x="3821" y="2089"/>
              <a:ext cx="23" cy="27"/>
            </a:xfrm>
            <a:custGeom>
              <a:avLst/>
              <a:gdLst>
                <a:gd name="T0" fmla="*/ 5 w 9"/>
                <a:gd name="T1" fmla="*/ 10 h 11"/>
                <a:gd name="T2" fmla="*/ 8 w 9"/>
                <a:gd name="T3" fmla="*/ 4 h 11"/>
                <a:gd name="T4" fmla="*/ 5 w 9"/>
                <a:gd name="T5" fmla="*/ 0 h 11"/>
                <a:gd name="T6" fmla="*/ 0 w 9"/>
                <a:gd name="T7" fmla="*/ 4 h 11"/>
                <a:gd name="T8" fmla="*/ 5 w 9"/>
                <a:gd name="T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5" y="10"/>
                  </a:moveTo>
                  <a:cubicBezTo>
                    <a:pt x="8" y="10"/>
                    <a:pt x="8" y="7"/>
                    <a:pt x="8" y="4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1" y="8"/>
                    <a:pt x="4" y="11"/>
                    <a:pt x="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rgbClr val="FFB85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45" name="组合 17"/>
          <p:cNvGrpSpPr/>
          <p:nvPr/>
        </p:nvGrpSpPr>
        <p:grpSpPr>
          <a:xfrm>
            <a:off x="8324116" y="3106514"/>
            <a:ext cx="2453643" cy="673209"/>
            <a:chOff x="6423475" y="2964816"/>
            <a:chExt cx="2141420" cy="528698"/>
          </a:xfrm>
        </p:grpSpPr>
        <p:grpSp>
          <p:nvGrpSpPr>
            <p:cNvPr id="162" name="Group 52"/>
            <p:cNvGrpSpPr>
              <a:grpSpLocks noChangeAspect="1"/>
            </p:cNvGrpSpPr>
            <p:nvPr/>
          </p:nvGrpSpPr>
          <p:grpSpPr bwMode="auto">
            <a:xfrm>
              <a:off x="6825979" y="3236488"/>
              <a:ext cx="257078" cy="254252"/>
              <a:chOff x="3796" y="2115"/>
              <a:chExt cx="91" cy="90"/>
            </a:xfrm>
            <a:solidFill>
              <a:schemeClr val="bg1"/>
            </a:solidFill>
            <a:effectLst/>
          </p:grpSpPr>
          <p:sp>
            <p:nvSpPr>
              <p:cNvPr id="165" name="Freeform 55"/>
              <p:cNvSpPr>
                <a:spLocks/>
              </p:cNvSpPr>
              <p:nvPr/>
            </p:nvSpPr>
            <p:spPr bwMode="auto">
              <a:xfrm>
                <a:off x="3839" y="2115"/>
                <a:ext cx="7" cy="10"/>
              </a:xfrm>
              <a:custGeom>
                <a:avLst/>
                <a:gdLst>
                  <a:gd name="T0" fmla="*/ 1 w 3"/>
                  <a:gd name="T1" fmla="*/ 4 h 4"/>
                  <a:gd name="T2" fmla="*/ 1 w 3"/>
                  <a:gd name="T3" fmla="*/ 4 h 4"/>
                  <a:gd name="T4" fmla="*/ 3 w 3"/>
                  <a:gd name="T5" fmla="*/ 3 h 4"/>
                  <a:gd name="T6" fmla="*/ 3 w 3"/>
                  <a:gd name="T7" fmla="*/ 0 h 4"/>
                  <a:gd name="T8" fmla="*/ 1 w 3"/>
                  <a:gd name="T9" fmla="*/ 0 h 4"/>
                  <a:gd name="T10" fmla="*/ 0 w 3"/>
                  <a:gd name="T11" fmla="*/ 0 h 4"/>
                  <a:gd name="T12" fmla="*/ 0 w 3"/>
                  <a:gd name="T13" fmla="*/ 3 h 4"/>
                  <a:gd name="T14" fmla="*/ 1 w 3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2" y="4"/>
                      <a:pt x="3" y="4"/>
                      <a:pt x="3" y="3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1" y="4"/>
                    </a:cubicBezTo>
                    <a:close/>
                  </a:path>
                </a:pathLst>
              </a:cu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/>
                <a:endParaRPr lang="zh-CN" altLang="en-US" sz="1733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6" name="Freeform 56"/>
              <p:cNvSpPr>
                <a:spLocks/>
              </p:cNvSpPr>
              <p:nvPr/>
            </p:nvSpPr>
            <p:spPr bwMode="auto">
              <a:xfrm>
                <a:off x="3839" y="2195"/>
                <a:ext cx="7" cy="10"/>
              </a:xfrm>
              <a:custGeom>
                <a:avLst/>
                <a:gdLst>
                  <a:gd name="T0" fmla="*/ 1 w 3"/>
                  <a:gd name="T1" fmla="*/ 0 h 4"/>
                  <a:gd name="T2" fmla="*/ 1 w 3"/>
                  <a:gd name="T3" fmla="*/ 0 h 4"/>
                  <a:gd name="T4" fmla="*/ 0 w 3"/>
                  <a:gd name="T5" fmla="*/ 1 h 4"/>
                  <a:gd name="T6" fmla="*/ 0 w 3"/>
                  <a:gd name="T7" fmla="*/ 4 h 4"/>
                  <a:gd name="T8" fmla="*/ 1 w 3"/>
                  <a:gd name="T9" fmla="*/ 4 h 4"/>
                  <a:gd name="T10" fmla="*/ 3 w 3"/>
                  <a:gd name="T11" fmla="*/ 4 h 4"/>
                  <a:gd name="T12" fmla="*/ 3 w 3"/>
                  <a:gd name="T13" fmla="*/ 1 h 4"/>
                  <a:gd name="T14" fmla="*/ 1 w 3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4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1" y="4"/>
                      <a:pt x="1" y="4"/>
                    </a:cubicBezTo>
                    <a:cubicBezTo>
                      <a:pt x="2" y="4"/>
                      <a:pt x="2" y="4"/>
                      <a:pt x="3" y="4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2" y="0"/>
                      <a:pt x="1" y="0"/>
                    </a:cubicBezTo>
                    <a:close/>
                  </a:path>
                </a:pathLst>
              </a:cu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/>
                <a:endParaRPr lang="zh-CN" altLang="en-US" sz="1733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7" name="Freeform 57"/>
              <p:cNvSpPr>
                <a:spLocks/>
              </p:cNvSpPr>
              <p:nvPr/>
            </p:nvSpPr>
            <p:spPr bwMode="auto">
              <a:xfrm>
                <a:off x="3796" y="2155"/>
                <a:ext cx="10" cy="10"/>
              </a:xfrm>
              <a:custGeom>
                <a:avLst/>
                <a:gdLst>
                  <a:gd name="T0" fmla="*/ 3 w 4"/>
                  <a:gd name="T1" fmla="*/ 0 h 4"/>
                  <a:gd name="T2" fmla="*/ 0 w 4"/>
                  <a:gd name="T3" fmla="*/ 0 h 4"/>
                  <a:gd name="T4" fmla="*/ 0 w 4"/>
                  <a:gd name="T5" fmla="*/ 2 h 4"/>
                  <a:gd name="T6" fmla="*/ 0 w 4"/>
                  <a:gd name="T7" fmla="*/ 4 h 4"/>
                  <a:gd name="T8" fmla="*/ 3 w 4"/>
                  <a:gd name="T9" fmla="*/ 4 h 4"/>
                  <a:gd name="T10" fmla="*/ 4 w 4"/>
                  <a:gd name="T11" fmla="*/ 2 h 4"/>
                  <a:gd name="T12" fmla="*/ 4 w 4"/>
                  <a:gd name="T13" fmla="*/ 2 h 4"/>
                  <a:gd name="T14" fmla="*/ 3 w 4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3"/>
                      <a:pt x="0" y="3"/>
                      <a:pt x="0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4" y="3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/>
                <a:endParaRPr lang="zh-CN" altLang="en-US" sz="1733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8" name="Freeform 58"/>
              <p:cNvSpPr>
                <a:spLocks/>
              </p:cNvSpPr>
              <p:nvPr/>
            </p:nvSpPr>
            <p:spPr bwMode="auto">
              <a:xfrm>
                <a:off x="3877" y="2155"/>
                <a:ext cx="10" cy="10"/>
              </a:xfrm>
              <a:custGeom>
                <a:avLst/>
                <a:gdLst>
                  <a:gd name="T0" fmla="*/ 4 w 4"/>
                  <a:gd name="T1" fmla="*/ 0 h 4"/>
                  <a:gd name="T2" fmla="*/ 2 w 4"/>
                  <a:gd name="T3" fmla="*/ 0 h 4"/>
                  <a:gd name="T4" fmla="*/ 0 w 4"/>
                  <a:gd name="T5" fmla="*/ 2 h 4"/>
                  <a:gd name="T6" fmla="*/ 0 w 4"/>
                  <a:gd name="T7" fmla="*/ 2 h 4"/>
                  <a:gd name="T8" fmla="*/ 2 w 4"/>
                  <a:gd name="T9" fmla="*/ 4 h 4"/>
                  <a:gd name="T10" fmla="*/ 4 w 4"/>
                  <a:gd name="T11" fmla="*/ 4 h 4"/>
                  <a:gd name="T12" fmla="*/ 4 w 4"/>
                  <a:gd name="T13" fmla="*/ 2 h 4"/>
                  <a:gd name="T14" fmla="*/ 4 w 4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2"/>
                    </a:cubicBezTo>
                    <a:cubicBezTo>
                      <a:pt x="4" y="1"/>
                      <a:pt x="4" y="1"/>
                      <a:pt x="4" y="0"/>
                    </a:cubicBezTo>
                    <a:close/>
                  </a:path>
                </a:pathLst>
              </a:cu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/>
                <a:endParaRPr lang="zh-CN" altLang="en-US" sz="1733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61" name="任意多边形 18"/>
            <p:cNvSpPr/>
            <p:nvPr/>
          </p:nvSpPr>
          <p:spPr>
            <a:xfrm>
              <a:off x="6423475" y="2964816"/>
              <a:ext cx="2141420" cy="528698"/>
            </a:xfrm>
            <a:custGeom>
              <a:avLst/>
              <a:gdLst>
                <a:gd name="connsiteX0" fmla="*/ 264349 w 1760619"/>
                <a:gd name="connsiteY0" fmla="*/ 0 h 528698"/>
                <a:gd name="connsiteX1" fmla="*/ 1760619 w 1760619"/>
                <a:gd name="connsiteY1" fmla="*/ 0 h 528698"/>
                <a:gd name="connsiteX2" fmla="*/ 1760619 w 1760619"/>
                <a:gd name="connsiteY2" fmla="*/ 528698 h 528698"/>
                <a:gd name="connsiteX3" fmla="*/ 264349 w 1760619"/>
                <a:gd name="connsiteY3" fmla="*/ 528698 h 528698"/>
                <a:gd name="connsiteX4" fmla="*/ 0 w 1760619"/>
                <a:gd name="connsiteY4" fmla="*/ 264349 h 528698"/>
                <a:gd name="connsiteX5" fmla="*/ 264349 w 1760619"/>
                <a:gd name="connsiteY5" fmla="*/ 0 h 52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60619" h="528698">
                  <a:moveTo>
                    <a:pt x="264349" y="0"/>
                  </a:moveTo>
                  <a:lnTo>
                    <a:pt x="1760619" y="0"/>
                  </a:lnTo>
                  <a:lnTo>
                    <a:pt x="1760619" y="528698"/>
                  </a:lnTo>
                  <a:lnTo>
                    <a:pt x="264349" y="528698"/>
                  </a:lnTo>
                  <a:cubicBezTo>
                    <a:pt x="118353" y="528698"/>
                    <a:pt x="0" y="410345"/>
                    <a:pt x="0" y="264349"/>
                  </a:cubicBezTo>
                  <a:cubicBezTo>
                    <a:pt x="0" y="118353"/>
                    <a:pt x="118353" y="0"/>
                    <a:pt x="26434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/>
              <a:endParaRPr lang="zh-CN" altLang="en-US" sz="1733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6" name="组合 27"/>
          <p:cNvGrpSpPr/>
          <p:nvPr/>
        </p:nvGrpSpPr>
        <p:grpSpPr>
          <a:xfrm>
            <a:off x="8324097" y="4516427"/>
            <a:ext cx="3052441" cy="673205"/>
            <a:chOff x="6423475" y="4085776"/>
            <a:chExt cx="2541023" cy="528698"/>
          </a:xfrm>
        </p:grpSpPr>
        <p:sp>
          <p:nvSpPr>
            <p:cNvPr id="158" name="Freeform 63"/>
            <p:cNvSpPr>
              <a:spLocks/>
            </p:cNvSpPr>
            <p:nvPr/>
          </p:nvSpPr>
          <p:spPr bwMode="auto">
            <a:xfrm>
              <a:off x="6791231" y="4384499"/>
              <a:ext cx="108357" cy="97523"/>
            </a:xfrm>
            <a:custGeom>
              <a:avLst/>
              <a:gdLst>
                <a:gd name="T0" fmla="*/ 5 w 16"/>
                <a:gd name="T1" fmla="*/ 0 h 14"/>
                <a:gd name="T2" fmla="*/ 0 w 16"/>
                <a:gd name="T3" fmla="*/ 4 h 14"/>
                <a:gd name="T4" fmla="*/ 10 w 16"/>
                <a:gd name="T5" fmla="*/ 14 h 14"/>
                <a:gd name="T6" fmla="*/ 16 w 16"/>
                <a:gd name="T7" fmla="*/ 9 h 14"/>
                <a:gd name="T8" fmla="*/ 5 w 1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5" y="0"/>
                  </a:moveTo>
                  <a:cubicBezTo>
                    <a:pt x="1" y="3"/>
                    <a:pt x="0" y="4"/>
                    <a:pt x="0" y="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3" y="11"/>
                    <a:pt x="16" y="9"/>
                  </a:cubicBezTo>
                  <a:lnTo>
                    <a:pt x="5" y="0"/>
                  </a:lnTo>
                  <a:close/>
                </a:path>
              </a:pathLst>
            </a:cu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prstClr val="black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56" name="任意多边形 28"/>
            <p:cNvSpPr/>
            <p:nvPr/>
          </p:nvSpPr>
          <p:spPr>
            <a:xfrm>
              <a:off x="6423475" y="4085776"/>
              <a:ext cx="2541023" cy="528698"/>
            </a:xfrm>
            <a:custGeom>
              <a:avLst/>
              <a:gdLst>
                <a:gd name="connsiteX0" fmla="*/ 264349 w 1524184"/>
                <a:gd name="connsiteY0" fmla="*/ 0 h 528698"/>
                <a:gd name="connsiteX1" fmla="*/ 1524184 w 1524184"/>
                <a:gd name="connsiteY1" fmla="*/ 0 h 528698"/>
                <a:gd name="connsiteX2" fmla="*/ 1524184 w 1524184"/>
                <a:gd name="connsiteY2" fmla="*/ 528698 h 528698"/>
                <a:gd name="connsiteX3" fmla="*/ 264349 w 1524184"/>
                <a:gd name="connsiteY3" fmla="*/ 528698 h 528698"/>
                <a:gd name="connsiteX4" fmla="*/ 0 w 1524184"/>
                <a:gd name="connsiteY4" fmla="*/ 264349 h 528698"/>
                <a:gd name="connsiteX5" fmla="*/ 264349 w 1524184"/>
                <a:gd name="connsiteY5" fmla="*/ 0 h 52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184" h="528698">
                  <a:moveTo>
                    <a:pt x="264349" y="0"/>
                  </a:moveTo>
                  <a:lnTo>
                    <a:pt x="1524184" y="0"/>
                  </a:lnTo>
                  <a:lnTo>
                    <a:pt x="1524184" y="528698"/>
                  </a:lnTo>
                  <a:lnTo>
                    <a:pt x="264349" y="528698"/>
                  </a:lnTo>
                  <a:cubicBezTo>
                    <a:pt x="118353" y="528698"/>
                    <a:pt x="0" y="410345"/>
                    <a:pt x="0" y="264349"/>
                  </a:cubicBezTo>
                  <a:cubicBezTo>
                    <a:pt x="0" y="118353"/>
                    <a:pt x="118353" y="0"/>
                    <a:pt x="264349" y="0"/>
                  </a:cubicBezTo>
                  <a:close/>
                </a:path>
              </a:pathLst>
            </a:cu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47" name="组合 33"/>
          <p:cNvGrpSpPr/>
          <p:nvPr/>
        </p:nvGrpSpPr>
        <p:grpSpPr>
          <a:xfrm>
            <a:off x="8323464" y="5523751"/>
            <a:ext cx="2915297" cy="689557"/>
            <a:chOff x="6422912" y="4863173"/>
            <a:chExt cx="2426843" cy="541537"/>
          </a:xfr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16200000" scaled="1"/>
            <a:tileRect/>
          </a:gradFill>
        </p:grpSpPr>
        <p:grpSp>
          <p:nvGrpSpPr>
            <p:cNvPr id="130" name="Group 68"/>
            <p:cNvGrpSpPr>
              <a:grpSpLocks noChangeAspect="1"/>
            </p:cNvGrpSpPr>
            <p:nvPr/>
          </p:nvGrpSpPr>
          <p:grpSpPr bwMode="auto">
            <a:xfrm>
              <a:off x="6826163" y="5251104"/>
              <a:ext cx="243464" cy="86464"/>
              <a:chOff x="3785" y="2095"/>
              <a:chExt cx="107" cy="38"/>
            </a:xfrm>
            <a:grpFill/>
            <a:effectLst/>
          </p:grpSpPr>
          <p:sp>
            <p:nvSpPr>
              <p:cNvPr id="136" name="Freeform 71"/>
              <p:cNvSpPr>
                <a:spLocks/>
              </p:cNvSpPr>
              <p:nvPr/>
            </p:nvSpPr>
            <p:spPr bwMode="auto">
              <a:xfrm>
                <a:off x="3830" y="2095"/>
                <a:ext cx="17" cy="20"/>
              </a:xfrm>
              <a:custGeom>
                <a:avLst/>
                <a:gdLst>
                  <a:gd name="T0" fmla="*/ 1 w 7"/>
                  <a:gd name="T1" fmla="*/ 5 h 8"/>
                  <a:gd name="T2" fmla="*/ 4 w 7"/>
                  <a:gd name="T3" fmla="*/ 8 h 8"/>
                  <a:gd name="T4" fmla="*/ 7 w 7"/>
                  <a:gd name="T5" fmla="*/ 5 h 8"/>
                  <a:gd name="T6" fmla="*/ 7 w 7"/>
                  <a:gd name="T7" fmla="*/ 4 h 8"/>
                  <a:gd name="T8" fmla="*/ 7 w 7"/>
                  <a:gd name="T9" fmla="*/ 4 h 8"/>
                  <a:gd name="T10" fmla="*/ 4 w 7"/>
                  <a:gd name="T11" fmla="*/ 0 h 8"/>
                  <a:gd name="T12" fmla="*/ 1 w 7"/>
                  <a:gd name="T13" fmla="*/ 4 h 8"/>
                  <a:gd name="T14" fmla="*/ 0 w 7"/>
                  <a:gd name="T15" fmla="*/ 4 h 8"/>
                  <a:gd name="T16" fmla="*/ 1 w 7"/>
                  <a:gd name="T17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8">
                    <a:moveTo>
                      <a:pt x="1" y="5"/>
                    </a:moveTo>
                    <a:cubicBezTo>
                      <a:pt x="1" y="7"/>
                      <a:pt x="2" y="8"/>
                      <a:pt x="4" y="8"/>
                    </a:cubicBezTo>
                    <a:cubicBezTo>
                      <a:pt x="5" y="8"/>
                      <a:pt x="6" y="7"/>
                      <a:pt x="7" y="5"/>
                    </a:cubicBezTo>
                    <a:cubicBezTo>
                      <a:pt x="7" y="5"/>
                      <a:pt x="7" y="5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2"/>
                      <a:pt x="5" y="0"/>
                      <a:pt x="4" y="0"/>
                    </a:cubicBezTo>
                    <a:cubicBezTo>
                      <a:pt x="2" y="0"/>
                      <a:pt x="1" y="2"/>
                      <a:pt x="1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5"/>
                      <a:pt x="1" y="5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/>
                <a:endParaRPr lang="zh-CN" altLang="en-US" sz="2800" kern="0">
                  <a:solidFill>
                    <a:prstClr val="black">
                      <a:lumMod val="65000"/>
                      <a:lumOff val="35000"/>
                    </a:prstClr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44" name="Freeform 73"/>
              <p:cNvSpPr>
                <a:spLocks/>
              </p:cNvSpPr>
              <p:nvPr/>
            </p:nvSpPr>
            <p:spPr bwMode="auto">
              <a:xfrm>
                <a:off x="3875" y="2115"/>
                <a:ext cx="17" cy="18"/>
              </a:xfrm>
              <a:custGeom>
                <a:avLst/>
                <a:gdLst>
                  <a:gd name="T0" fmla="*/ 1 w 7"/>
                  <a:gd name="T1" fmla="*/ 5 h 7"/>
                  <a:gd name="T2" fmla="*/ 4 w 7"/>
                  <a:gd name="T3" fmla="*/ 7 h 7"/>
                  <a:gd name="T4" fmla="*/ 6 w 7"/>
                  <a:gd name="T5" fmla="*/ 4 h 7"/>
                  <a:gd name="T6" fmla="*/ 7 w 7"/>
                  <a:gd name="T7" fmla="*/ 3 h 7"/>
                  <a:gd name="T8" fmla="*/ 6 w 7"/>
                  <a:gd name="T9" fmla="*/ 3 h 7"/>
                  <a:gd name="T10" fmla="*/ 4 w 7"/>
                  <a:gd name="T11" fmla="*/ 0 h 7"/>
                  <a:gd name="T12" fmla="*/ 1 w 7"/>
                  <a:gd name="T13" fmla="*/ 3 h 7"/>
                  <a:gd name="T14" fmla="*/ 0 w 7"/>
                  <a:gd name="T15" fmla="*/ 3 h 7"/>
                  <a:gd name="T16" fmla="*/ 1 w 7"/>
                  <a:gd name="T17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7">
                    <a:moveTo>
                      <a:pt x="1" y="5"/>
                    </a:moveTo>
                    <a:cubicBezTo>
                      <a:pt x="1" y="6"/>
                      <a:pt x="2" y="7"/>
                      <a:pt x="4" y="7"/>
                    </a:cubicBezTo>
                    <a:cubicBezTo>
                      <a:pt x="5" y="7"/>
                      <a:pt x="6" y="6"/>
                      <a:pt x="6" y="4"/>
                    </a:cubicBezTo>
                    <a:cubicBezTo>
                      <a:pt x="7" y="4"/>
                      <a:pt x="7" y="4"/>
                      <a:pt x="7" y="3"/>
                    </a:cubicBezTo>
                    <a:cubicBezTo>
                      <a:pt x="7" y="3"/>
                      <a:pt x="7" y="3"/>
                      <a:pt x="6" y="3"/>
                    </a:cubicBezTo>
                    <a:cubicBezTo>
                      <a:pt x="6" y="1"/>
                      <a:pt x="5" y="0"/>
                      <a:pt x="4" y="0"/>
                    </a:cubicBezTo>
                    <a:cubicBezTo>
                      <a:pt x="2" y="0"/>
                      <a:pt x="1" y="1"/>
                      <a:pt x="1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1" y="5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/>
                <a:endParaRPr lang="zh-CN" altLang="en-US" sz="2800" kern="0">
                  <a:solidFill>
                    <a:prstClr val="black">
                      <a:lumMod val="65000"/>
                      <a:lumOff val="35000"/>
                    </a:prstClr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55" name="Freeform 75"/>
              <p:cNvSpPr>
                <a:spLocks/>
              </p:cNvSpPr>
              <p:nvPr/>
            </p:nvSpPr>
            <p:spPr bwMode="auto">
              <a:xfrm>
                <a:off x="3785" y="2115"/>
                <a:ext cx="18" cy="18"/>
              </a:xfrm>
              <a:custGeom>
                <a:avLst/>
                <a:gdLst>
                  <a:gd name="T0" fmla="*/ 1 w 7"/>
                  <a:gd name="T1" fmla="*/ 5 h 7"/>
                  <a:gd name="T2" fmla="*/ 4 w 7"/>
                  <a:gd name="T3" fmla="*/ 7 h 7"/>
                  <a:gd name="T4" fmla="*/ 6 w 7"/>
                  <a:gd name="T5" fmla="*/ 4 h 7"/>
                  <a:gd name="T6" fmla="*/ 7 w 7"/>
                  <a:gd name="T7" fmla="*/ 3 h 7"/>
                  <a:gd name="T8" fmla="*/ 7 w 7"/>
                  <a:gd name="T9" fmla="*/ 3 h 7"/>
                  <a:gd name="T10" fmla="*/ 4 w 7"/>
                  <a:gd name="T11" fmla="*/ 0 h 7"/>
                  <a:gd name="T12" fmla="*/ 1 w 7"/>
                  <a:gd name="T13" fmla="*/ 3 h 7"/>
                  <a:gd name="T14" fmla="*/ 0 w 7"/>
                  <a:gd name="T15" fmla="*/ 3 h 7"/>
                  <a:gd name="T16" fmla="*/ 1 w 7"/>
                  <a:gd name="T17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7">
                    <a:moveTo>
                      <a:pt x="1" y="5"/>
                    </a:moveTo>
                    <a:cubicBezTo>
                      <a:pt x="1" y="6"/>
                      <a:pt x="2" y="7"/>
                      <a:pt x="4" y="7"/>
                    </a:cubicBezTo>
                    <a:cubicBezTo>
                      <a:pt x="5" y="7"/>
                      <a:pt x="6" y="6"/>
                      <a:pt x="6" y="4"/>
                    </a:cubicBezTo>
                    <a:cubicBezTo>
                      <a:pt x="7" y="4"/>
                      <a:pt x="7" y="4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1"/>
                      <a:pt x="5" y="0"/>
                      <a:pt x="4" y="0"/>
                    </a:cubicBezTo>
                    <a:cubicBezTo>
                      <a:pt x="2" y="0"/>
                      <a:pt x="1" y="1"/>
                      <a:pt x="1" y="3"/>
                    </a:cubicBezTo>
                    <a:cubicBezTo>
                      <a:pt x="1" y="3"/>
                      <a:pt x="0" y="3"/>
                      <a:pt x="0" y="3"/>
                    </a:cubicBezTo>
                    <a:cubicBezTo>
                      <a:pt x="0" y="4"/>
                      <a:pt x="1" y="4"/>
                      <a:pt x="1" y="5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/>
                <a:endParaRPr lang="zh-CN" altLang="en-US" sz="2800" kern="0">
                  <a:solidFill>
                    <a:prstClr val="black">
                      <a:lumMod val="65000"/>
                      <a:lumOff val="35000"/>
                    </a:prstClr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129" name="任意多边形 34"/>
            <p:cNvSpPr/>
            <p:nvPr/>
          </p:nvSpPr>
          <p:spPr>
            <a:xfrm>
              <a:off x="6422912" y="4863173"/>
              <a:ext cx="2426843" cy="541537"/>
            </a:xfrm>
            <a:custGeom>
              <a:avLst/>
              <a:gdLst>
                <a:gd name="connsiteX0" fmla="*/ 264349 w 1334863"/>
                <a:gd name="connsiteY0" fmla="*/ 0 h 528698"/>
                <a:gd name="connsiteX1" fmla="*/ 1334863 w 1334863"/>
                <a:gd name="connsiteY1" fmla="*/ 0 h 528698"/>
                <a:gd name="connsiteX2" fmla="*/ 1334863 w 1334863"/>
                <a:gd name="connsiteY2" fmla="*/ 528698 h 528698"/>
                <a:gd name="connsiteX3" fmla="*/ 264349 w 1334863"/>
                <a:gd name="connsiteY3" fmla="*/ 528698 h 528698"/>
                <a:gd name="connsiteX4" fmla="*/ 0 w 1334863"/>
                <a:gd name="connsiteY4" fmla="*/ 264349 h 528698"/>
                <a:gd name="connsiteX5" fmla="*/ 264349 w 1334863"/>
                <a:gd name="connsiteY5" fmla="*/ 0 h 52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4863" h="528698">
                  <a:moveTo>
                    <a:pt x="264349" y="0"/>
                  </a:moveTo>
                  <a:lnTo>
                    <a:pt x="1334863" y="0"/>
                  </a:lnTo>
                  <a:lnTo>
                    <a:pt x="1334863" y="528698"/>
                  </a:lnTo>
                  <a:lnTo>
                    <a:pt x="264349" y="528698"/>
                  </a:lnTo>
                  <a:cubicBezTo>
                    <a:pt x="118353" y="528698"/>
                    <a:pt x="0" y="410345"/>
                    <a:pt x="0" y="264349"/>
                  </a:cubicBezTo>
                  <a:cubicBezTo>
                    <a:pt x="0" y="118353"/>
                    <a:pt x="118353" y="0"/>
                    <a:pt x="264349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/>
              <a:endParaRPr lang="zh-CN" altLang="en-US" sz="2800" ker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63" name="文本框 113"/>
          <p:cNvSpPr txBox="1"/>
          <p:nvPr/>
        </p:nvSpPr>
        <p:spPr>
          <a:xfrm>
            <a:off x="1986831" y="2105104"/>
            <a:ext cx="619498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ru-RU" altLang="zh-CN" sz="1733" dirty="0">
                <a:solidFill>
                  <a:schemeClr val="tx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еспечение страхованием работников </a:t>
            </a:r>
            <a:r>
              <a:rPr lang="ru-RU" altLang="zh-CN" sz="1733" b="1" dirty="0">
                <a:solidFill>
                  <a:schemeClr val="tx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70%</a:t>
            </a:r>
            <a:r>
              <a:rPr lang="ru-RU" altLang="zh-CN" sz="1733" dirty="0">
                <a:solidFill>
                  <a:schemeClr val="tx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активных предприятий от несчастных случаев на производстве </a:t>
            </a:r>
          </a:p>
        </p:txBody>
      </p:sp>
      <p:sp>
        <p:nvSpPr>
          <p:cNvPr id="64" name="文本框 113"/>
          <p:cNvSpPr txBox="1"/>
          <p:nvPr/>
        </p:nvSpPr>
        <p:spPr>
          <a:xfrm>
            <a:off x="2129605" y="3236977"/>
            <a:ext cx="604531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ru-RU" altLang="zh-CN" sz="1733" dirty="0">
                <a:solidFill>
                  <a:schemeClr val="tx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лная оцифровка коллективных договоров крупных и средних субъектов предпринимательства (оцифрованы 8,3 из 13 тыс.)</a:t>
            </a:r>
          </a:p>
        </p:txBody>
      </p:sp>
      <p:sp>
        <p:nvSpPr>
          <p:cNvPr id="65" name="文本框 113"/>
          <p:cNvSpPr txBox="1"/>
          <p:nvPr/>
        </p:nvSpPr>
        <p:spPr>
          <a:xfrm>
            <a:off x="2063553" y="4485116"/>
            <a:ext cx="61418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ru-RU" altLang="zh-CN" sz="1733" dirty="0">
                <a:solidFill>
                  <a:schemeClr val="tx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аксимальное внесение предприятиями электронных трудовых договоров в ИС «Единая система учета трудовых договоров» </a:t>
            </a:r>
          </a:p>
          <a:p>
            <a:pPr>
              <a:lnSpc>
                <a:spcPts val="1500"/>
              </a:lnSpc>
            </a:pPr>
            <a:r>
              <a:rPr lang="ru-RU" altLang="zh-CN" sz="1733" dirty="0">
                <a:solidFill>
                  <a:schemeClr val="tx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внесены 3,8 из 4,5 млн.) </a:t>
            </a:r>
          </a:p>
        </p:txBody>
      </p:sp>
      <p:sp>
        <p:nvSpPr>
          <p:cNvPr id="66" name="文本框 113"/>
          <p:cNvSpPr txBox="1"/>
          <p:nvPr/>
        </p:nvSpPr>
        <p:spPr>
          <a:xfrm>
            <a:off x="2129606" y="5619216"/>
            <a:ext cx="605476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ru-RU" altLang="zh-CN" sz="1733" dirty="0">
                <a:solidFill>
                  <a:schemeClr val="tx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исоединилось </a:t>
            </a:r>
            <a:r>
              <a:rPr lang="ru-RU" altLang="zh-CN" sz="1733" b="1" dirty="0">
                <a:solidFill>
                  <a:schemeClr val="tx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610 </a:t>
            </a:r>
            <a:r>
              <a:rPr lang="ru-RU" altLang="zh-CN" sz="1733" dirty="0">
                <a:solidFill>
                  <a:schemeClr val="tx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дприятий к концепции «Vision Zero - Нулевой травматизм»</a:t>
            </a:r>
          </a:p>
        </p:txBody>
      </p:sp>
      <p:grpSp>
        <p:nvGrpSpPr>
          <p:cNvPr id="68" name="组合 88"/>
          <p:cNvGrpSpPr/>
          <p:nvPr/>
        </p:nvGrpSpPr>
        <p:grpSpPr>
          <a:xfrm>
            <a:off x="8205353" y="1814301"/>
            <a:ext cx="3899468" cy="926496"/>
            <a:chOff x="6095999" y="2039788"/>
            <a:chExt cx="3246121" cy="727614"/>
          </a:xfrm>
        </p:grpSpPr>
        <p:sp>
          <p:nvSpPr>
            <p:cNvPr id="84" name="任意多边形 89"/>
            <p:cNvSpPr/>
            <p:nvPr/>
          </p:nvSpPr>
          <p:spPr>
            <a:xfrm>
              <a:off x="6096000" y="2061493"/>
              <a:ext cx="3246120" cy="705909"/>
            </a:xfrm>
            <a:custGeom>
              <a:avLst/>
              <a:gdLst>
                <a:gd name="connsiteX0" fmla="*/ 368297 w 3246120"/>
                <a:gd name="connsiteY0" fmla="*/ 88606 h 705910"/>
                <a:gd name="connsiteX1" fmla="*/ 103948 w 3246120"/>
                <a:gd name="connsiteY1" fmla="*/ 352955 h 705910"/>
                <a:gd name="connsiteX2" fmla="*/ 368297 w 3246120"/>
                <a:gd name="connsiteY2" fmla="*/ 617304 h 705910"/>
                <a:gd name="connsiteX3" fmla="*/ 2887968 w 3246120"/>
                <a:gd name="connsiteY3" fmla="*/ 617304 h 705910"/>
                <a:gd name="connsiteX4" fmla="*/ 3152317 w 3246120"/>
                <a:gd name="connsiteY4" fmla="*/ 352955 h 705910"/>
                <a:gd name="connsiteX5" fmla="*/ 2887968 w 3246120"/>
                <a:gd name="connsiteY5" fmla="*/ 88606 h 705910"/>
                <a:gd name="connsiteX6" fmla="*/ 352955 w 3246120"/>
                <a:gd name="connsiteY6" fmla="*/ 0 h 705910"/>
                <a:gd name="connsiteX7" fmla="*/ 2893165 w 3246120"/>
                <a:gd name="connsiteY7" fmla="*/ 0 h 705910"/>
                <a:gd name="connsiteX8" fmla="*/ 3246120 w 3246120"/>
                <a:gd name="connsiteY8" fmla="*/ 352955 h 705910"/>
                <a:gd name="connsiteX9" fmla="*/ 2893165 w 3246120"/>
                <a:gd name="connsiteY9" fmla="*/ 705910 h 705910"/>
                <a:gd name="connsiteX10" fmla="*/ 352955 w 3246120"/>
                <a:gd name="connsiteY10" fmla="*/ 705910 h 705910"/>
                <a:gd name="connsiteX11" fmla="*/ 0 w 3246120"/>
                <a:gd name="connsiteY11" fmla="*/ 352955 h 705910"/>
                <a:gd name="connsiteX12" fmla="*/ 352955 w 3246120"/>
                <a:gd name="connsiteY12" fmla="*/ 0 h 70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6120" h="705910">
                  <a:moveTo>
                    <a:pt x="368297" y="88606"/>
                  </a:moveTo>
                  <a:cubicBezTo>
                    <a:pt x="222301" y="88606"/>
                    <a:pt x="103948" y="206959"/>
                    <a:pt x="103948" y="352955"/>
                  </a:cubicBezTo>
                  <a:cubicBezTo>
                    <a:pt x="103948" y="498951"/>
                    <a:pt x="222301" y="617304"/>
                    <a:pt x="368297" y="617304"/>
                  </a:cubicBezTo>
                  <a:lnTo>
                    <a:pt x="2887968" y="617304"/>
                  </a:lnTo>
                  <a:cubicBezTo>
                    <a:pt x="3033964" y="617304"/>
                    <a:pt x="3152317" y="498951"/>
                    <a:pt x="3152317" y="352955"/>
                  </a:cubicBezTo>
                  <a:cubicBezTo>
                    <a:pt x="3152317" y="206959"/>
                    <a:pt x="3033964" y="88606"/>
                    <a:pt x="2887968" y="88606"/>
                  </a:cubicBezTo>
                  <a:close/>
                  <a:moveTo>
                    <a:pt x="352955" y="0"/>
                  </a:moveTo>
                  <a:lnTo>
                    <a:pt x="2893165" y="0"/>
                  </a:lnTo>
                  <a:cubicBezTo>
                    <a:pt x="3088097" y="0"/>
                    <a:pt x="3246120" y="158023"/>
                    <a:pt x="3246120" y="352955"/>
                  </a:cubicBezTo>
                  <a:cubicBezTo>
                    <a:pt x="3246120" y="547887"/>
                    <a:pt x="3088097" y="705910"/>
                    <a:pt x="2893165" y="705910"/>
                  </a:cubicBezTo>
                  <a:lnTo>
                    <a:pt x="352955" y="705910"/>
                  </a:lnTo>
                  <a:cubicBezTo>
                    <a:pt x="158023" y="705910"/>
                    <a:pt x="0" y="547887"/>
                    <a:pt x="0" y="352955"/>
                  </a:cubicBezTo>
                  <a:cubicBezTo>
                    <a:pt x="0" y="158023"/>
                    <a:pt x="158023" y="0"/>
                    <a:pt x="352955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1016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85" name="圆角矩形 90"/>
            <p:cNvSpPr/>
            <p:nvPr/>
          </p:nvSpPr>
          <p:spPr>
            <a:xfrm>
              <a:off x="6194875" y="2128394"/>
              <a:ext cx="3048369" cy="528698"/>
            </a:xfrm>
            <a:prstGeom prst="roundRect">
              <a:avLst>
                <a:gd name="adj" fmla="val 50000"/>
              </a:avLst>
            </a:prstGeom>
            <a:noFill/>
            <a:ln w="19050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86" name="圆角矩形 91"/>
            <p:cNvSpPr/>
            <p:nvPr/>
          </p:nvSpPr>
          <p:spPr>
            <a:xfrm>
              <a:off x="6095999" y="2039788"/>
              <a:ext cx="3246120" cy="705910"/>
            </a:xfrm>
            <a:prstGeom prst="roundRect">
              <a:avLst>
                <a:gd name="adj" fmla="val 50000"/>
              </a:avLst>
            </a:prstGeom>
            <a:noFill/>
            <a:ln w="19050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69" name="组合 92"/>
          <p:cNvGrpSpPr/>
          <p:nvPr/>
        </p:nvGrpSpPr>
        <p:grpSpPr>
          <a:xfrm>
            <a:off x="8205352" y="3010193"/>
            <a:ext cx="3899467" cy="898859"/>
            <a:chOff x="6096000" y="1924117"/>
            <a:chExt cx="3246120" cy="705910"/>
          </a:xfrm>
        </p:grpSpPr>
        <p:sp>
          <p:nvSpPr>
            <p:cNvPr id="81" name="任意多边形 93"/>
            <p:cNvSpPr/>
            <p:nvPr/>
          </p:nvSpPr>
          <p:spPr>
            <a:xfrm>
              <a:off x="6096000" y="1924117"/>
              <a:ext cx="3246120" cy="705910"/>
            </a:xfrm>
            <a:custGeom>
              <a:avLst/>
              <a:gdLst>
                <a:gd name="connsiteX0" fmla="*/ 368297 w 3246120"/>
                <a:gd name="connsiteY0" fmla="*/ 88606 h 705910"/>
                <a:gd name="connsiteX1" fmla="*/ 103948 w 3246120"/>
                <a:gd name="connsiteY1" fmla="*/ 352955 h 705910"/>
                <a:gd name="connsiteX2" fmla="*/ 368297 w 3246120"/>
                <a:gd name="connsiteY2" fmla="*/ 617304 h 705910"/>
                <a:gd name="connsiteX3" fmla="*/ 2887968 w 3246120"/>
                <a:gd name="connsiteY3" fmla="*/ 617304 h 705910"/>
                <a:gd name="connsiteX4" fmla="*/ 3152317 w 3246120"/>
                <a:gd name="connsiteY4" fmla="*/ 352955 h 705910"/>
                <a:gd name="connsiteX5" fmla="*/ 2887968 w 3246120"/>
                <a:gd name="connsiteY5" fmla="*/ 88606 h 705910"/>
                <a:gd name="connsiteX6" fmla="*/ 352955 w 3246120"/>
                <a:gd name="connsiteY6" fmla="*/ 0 h 705910"/>
                <a:gd name="connsiteX7" fmla="*/ 2893165 w 3246120"/>
                <a:gd name="connsiteY7" fmla="*/ 0 h 705910"/>
                <a:gd name="connsiteX8" fmla="*/ 3246120 w 3246120"/>
                <a:gd name="connsiteY8" fmla="*/ 352955 h 705910"/>
                <a:gd name="connsiteX9" fmla="*/ 2893165 w 3246120"/>
                <a:gd name="connsiteY9" fmla="*/ 705910 h 705910"/>
                <a:gd name="connsiteX10" fmla="*/ 352955 w 3246120"/>
                <a:gd name="connsiteY10" fmla="*/ 705910 h 705910"/>
                <a:gd name="connsiteX11" fmla="*/ 0 w 3246120"/>
                <a:gd name="connsiteY11" fmla="*/ 352955 h 705910"/>
                <a:gd name="connsiteX12" fmla="*/ 352955 w 3246120"/>
                <a:gd name="connsiteY12" fmla="*/ 0 h 70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6120" h="705910">
                  <a:moveTo>
                    <a:pt x="368297" y="88606"/>
                  </a:moveTo>
                  <a:cubicBezTo>
                    <a:pt x="222301" y="88606"/>
                    <a:pt x="103948" y="206959"/>
                    <a:pt x="103948" y="352955"/>
                  </a:cubicBezTo>
                  <a:cubicBezTo>
                    <a:pt x="103948" y="498951"/>
                    <a:pt x="222301" y="617304"/>
                    <a:pt x="368297" y="617304"/>
                  </a:cubicBezTo>
                  <a:lnTo>
                    <a:pt x="2887968" y="617304"/>
                  </a:lnTo>
                  <a:cubicBezTo>
                    <a:pt x="3033964" y="617304"/>
                    <a:pt x="3152317" y="498951"/>
                    <a:pt x="3152317" y="352955"/>
                  </a:cubicBezTo>
                  <a:cubicBezTo>
                    <a:pt x="3152317" y="206959"/>
                    <a:pt x="3033964" y="88606"/>
                    <a:pt x="2887968" y="88606"/>
                  </a:cubicBezTo>
                  <a:close/>
                  <a:moveTo>
                    <a:pt x="352955" y="0"/>
                  </a:moveTo>
                  <a:lnTo>
                    <a:pt x="2893165" y="0"/>
                  </a:lnTo>
                  <a:cubicBezTo>
                    <a:pt x="3088097" y="0"/>
                    <a:pt x="3246120" y="158023"/>
                    <a:pt x="3246120" y="352955"/>
                  </a:cubicBezTo>
                  <a:cubicBezTo>
                    <a:pt x="3246120" y="547887"/>
                    <a:pt x="3088097" y="705910"/>
                    <a:pt x="2893165" y="705910"/>
                  </a:cubicBezTo>
                  <a:lnTo>
                    <a:pt x="352955" y="705910"/>
                  </a:lnTo>
                  <a:cubicBezTo>
                    <a:pt x="158023" y="705910"/>
                    <a:pt x="0" y="547887"/>
                    <a:pt x="0" y="352955"/>
                  </a:cubicBezTo>
                  <a:cubicBezTo>
                    <a:pt x="0" y="158023"/>
                    <a:pt x="158023" y="0"/>
                    <a:pt x="352955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1016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82" name="圆角矩形 94"/>
            <p:cNvSpPr/>
            <p:nvPr/>
          </p:nvSpPr>
          <p:spPr>
            <a:xfrm>
              <a:off x="6194875" y="2012724"/>
              <a:ext cx="3048369" cy="528698"/>
            </a:xfrm>
            <a:prstGeom prst="roundRect">
              <a:avLst>
                <a:gd name="adj" fmla="val 50000"/>
              </a:avLst>
            </a:prstGeom>
            <a:noFill/>
            <a:ln w="19050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71" name="组合 96"/>
          <p:cNvGrpSpPr/>
          <p:nvPr/>
        </p:nvGrpSpPr>
        <p:grpSpPr>
          <a:xfrm>
            <a:off x="8205353" y="4422657"/>
            <a:ext cx="3899468" cy="898859"/>
            <a:chOff x="6095999" y="2039788"/>
            <a:chExt cx="3246121" cy="705910"/>
          </a:xfrm>
        </p:grpSpPr>
        <p:sp>
          <p:nvSpPr>
            <p:cNvPr id="76" name="任意多边形 97"/>
            <p:cNvSpPr/>
            <p:nvPr/>
          </p:nvSpPr>
          <p:spPr>
            <a:xfrm>
              <a:off x="6096000" y="2039788"/>
              <a:ext cx="3246120" cy="705910"/>
            </a:xfrm>
            <a:custGeom>
              <a:avLst/>
              <a:gdLst>
                <a:gd name="connsiteX0" fmla="*/ 368297 w 3246120"/>
                <a:gd name="connsiteY0" fmla="*/ 88606 h 705910"/>
                <a:gd name="connsiteX1" fmla="*/ 103948 w 3246120"/>
                <a:gd name="connsiteY1" fmla="*/ 352955 h 705910"/>
                <a:gd name="connsiteX2" fmla="*/ 368297 w 3246120"/>
                <a:gd name="connsiteY2" fmla="*/ 617304 h 705910"/>
                <a:gd name="connsiteX3" fmla="*/ 2887968 w 3246120"/>
                <a:gd name="connsiteY3" fmla="*/ 617304 h 705910"/>
                <a:gd name="connsiteX4" fmla="*/ 3152317 w 3246120"/>
                <a:gd name="connsiteY4" fmla="*/ 352955 h 705910"/>
                <a:gd name="connsiteX5" fmla="*/ 2887968 w 3246120"/>
                <a:gd name="connsiteY5" fmla="*/ 88606 h 705910"/>
                <a:gd name="connsiteX6" fmla="*/ 352955 w 3246120"/>
                <a:gd name="connsiteY6" fmla="*/ 0 h 705910"/>
                <a:gd name="connsiteX7" fmla="*/ 2893165 w 3246120"/>
                <a:gd name="connsiteY7" fmla="*/ 0 h 705910"/>
                <a:gd name="connsiteX8" fmla="*/ 3246120 w 3246120"/>
                <a:gd name="connsiteY8" fmla="*/ 352955 h 705910"/>
                <a:gd name="connsiteX9" fmla="*/ 2893165 w 3246120"/>
                <a:gd name="connsiteY9" fmla="*/ 705910 h 705910"/>
                <a:gd name="connsiteX10" fmla="*/ 352955 w 3246120"/>
                <a:gd name="connsiteY10" fmla="*/ 705910 h 705910"/>
                <a:gd name="connsiteX11" fmla="*/ 0 w 3246120"/>
                <a:gd name="connsiteY11" fmla="*/ 352955 h 705910"/>
                <a:gd name="connsiteX12" fmla="*/ 352955 w 3246120"/>
                <a:gd name="connsiteY12" fmla="*/ 0 h 70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6120" h="705910">
                  <a:moveTo>
                    <a:pt x="368297" y="88606"/>
                  </a:moveTo>
                  <a:cubicBezTo>
                    <a:pt x="222301" y="88606"/>
                    <a:pt x="103948" y="206959"/>
                    <a:pt x="103948" y="352955"/>
                  </a:cubicBezTo>
                  <a:cubicBezTo>
                    <a:pt x="103948" y="498951"/>
                    <a:pt x="222301" y="617304"/>
                    <a:pt x="368297" y="617304"/>
                  </a:cubicBezTo>
                  <a:lnTo>
                    <a:pt x="2887968" y="617304"/>
                  </a:lnTo>
                  <a:cubicBezTo>
                    <a:pt x="3033964" y="617304"/>
                    <a:pt x="3152317" y="498951"/>
                    <a:pt x="3152317" y="352955"/>
                  </a:cubicBezTo>
                  <a:cubicBezTo>
                    <a:pt x="3152317" y="206959"/>
                    <a:pt x="3033964" y="88606"/>
                    <a:pt x="2887968" y="88606"/>
                  </a:cubicBezTo>
                  <a:close/>
                  <a:moveTo>
                    <a:pt x="352955" y="0"/>
                  </a:moveTo>
                  <a:lnTo>
                    <a:pt x="2893165" y="0"/>
                  </a:lnTo>
                  <a:cubicBezTo>
                    <a:pt x="3088097" y="0"/>
                    <a:pt x="3246120" y="158023"/>
                    <a:pt x="3246120" y="352955"/>
                  </a:cubicBezTo>
                  <a:cubicBezTo>
                    <a:pt x="3246120" y="547887"/>
                    <a:pt x="3088097" y="705910"/>
                    <a:pt x="2893165" y="705910"/>
                  </a:cubicBezTo>
                  <a:lnTo>
                    <a:pt x="352955" y="705910"/>
                  </a:lnTo>
                  <a:cubicBezTo>
                    <a:pt x="158023" y="705910"/>
                    <a:pt x="0" y="547887"/>
                    <a:pt x="0" y="352955"/>
                  </a:cubicBezTo>
                  <a:cubicBezTo>
                    <a:pt x="0" y="158023"/>
                    <a:pt x="158023" y="0"/>
                    <a:pt x="352955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1016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78" name="圆角矩形 98"/>
            <p:cNvSpPr/>
            <p:nvPr/>
          </p:nvSpPr>
          <p:spPr>
            <a:xfrm>
              <a:off x="6194875" y="2128394"/>
              <a:ext cx="3048369" cy="528698"/>
            </a:xfrm>
            <a:prstGeom prst="roundRect">
              <a:avLst>
                <a:gd name="adj" fmla="val 50000"/>
              </a:avLst>
            </a:prstGeom>
            <a:noFill/>
            <a:ln w="19050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79" name="圆角矩形 99"/>
            <p:cNvSpPr/>
            <p:nvPr/>
          </p:nvSpPr>
          <p:spPr>
            <a:xfrm>
              <a:off x="6095999" y="2039788"/>
              <a:ext cx="3246120" cy="705910"/>
            </a:xfrm>
            <a:prstGeom prst="roundRect">
              <a:avLst>
                <a:gd name="adj" fmla="val 50000"/>
              </a:avLst>
            </a:prstGeom>
            <a:noFill/>
            <a:ln w="19050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72" name="组合 100"/>
          <p:cNvGrpSpPr/>
          <p:nvPr/>
        </p:nvGrpSpPr>
        <p:grpSpPr>
          <a:xfrm>
            <a:off x="8205353" y="5445225"/>
            <a:ext cx="3899468" cy="898865"/>
            <a:chOff x="6095999" y="1787986"/>
            <a:chExt cx="3246121" cy="705913"/>
          </a:xfrm>
        </p:grpSpPr>
        <p:sp>
          <p:nvSpPr>
            <p:cNvPr id="73" name="任意多边形 101"/>
            <p:cNvSpPr/>
            <p:nvPr/>
          </p:nvSpPr>
          <p:spPr>
            <a:xfrm>
              <a:off x="6096000" y="1787989"/>
              <a:ext cx="3246120" cy="705910"/>
            </a:xfrm>
            <a:custGeom>
              <a:avLst/>
              <a:gdLst>
                <a:gd name="connsiteX0" fmla="*/ 368297 w 3246120"/>
                <a:gd name="connsiteY0" fmla="*/ 88606 h 705910"/>
                <a:gd name="connsiteX1" fmla="*/ 103948 w 3246120"/>
                <a:gd name="connsiteY1" fmla="*/ 352955 h 705910"/>
                <a:gd name="connsiteX2" fmla="*/ 368297 w 3246120"/>
                <a:gd name="connsiteY2" fmla="*/ 617304 h 705910"/>
                <a:gd name="connsiteX3" fmla="*/ 2887968 w 3246120"/>
                <a:gd name="connsiteY3" fmla="*/ 617304 h 705910"/>
                <a:gd name="connsiteX4" fmla="*/ 3152317 w 3246120"/>
                <a:gd name="connsiteY4" fmla="*/ 352955 h 705910"/>
                <a:gd name="connsiteX5" fmla="*/ 2887968 w 3246120"/>
                <a:gd name="connsiteY5" fmla="*/ 88606 h 705910"/>
                <a:gd name="connsiteX6" fmla="*/ 352955 w 3246120"/>
                <a:gd name="connsiteY6" fmla="*/ 0 h 705910"/>
                <a:gd name="connsiteX7" fmla="*/ 2893165 w 3246120"/>
                <a:gd name="connsiteY7" fmla="*/ 0 h 705910"/>
                <a:gd name="connsiteX8" fmla="*/ 3246120 w 3246120"/>
                <a:gd name="connsiteY8" fmla="*/ 352955 h 705910"/>
                <a:gd name="connsiteX9" fmla="*/ 2893165 w 3246120"/>
                <a:gd name="connsiteY9" fmla="*/ 705910 h 705910"/>
                <a:gd name="connsiteX10" fmla="*/ 352955 w 3246120"/>
                <a:gd name="connsiteY10" fmla="*/ 705910 h 705910"/>
                <a:gd name="connsiteX11" fmla="*/ 0 w 3246120"/>
                <a:gd name="connsiteY11" fmla="*/ 352955 h 705910"/>
                <a:gd name="connsiteX12" fmla="*/ 352955 w 3246120"/>
                <a:gd name="connsiteY12" fmla="*/ 0 h 70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6120" h="705910">
                  <a:moveTo>
                    <a:pt x="368297" y="88606"/>
                  </a:moveTo>
                  <a:cubicBezTo>
                    <a:pt x="222301" y="88606"/>
                    <a:pt x="103948" y="206959"/>
                    <a:pt x="103948" y="352955"/>
                  </a:cubicBezTo>
                  <a:cubicBezTo>
                    <a:pt x="103948" y="498951"/>
                    <a:pt x="222301" y="617304"/>
                    <a:pt x="368297" y="617304"/>
                  </a:cubicBezTo>
                  <a:lnTo>
                    <a:pt x="2887968" y="617304"/>
                  </a:lnTo>
                  <a:cubicBezTo>
                    <a:pt x="3033964" y="617304"/>
                    <a:pt x="3152317" y="498951"/>
                    <a:pt x="3152317" y="352955"/>
                  </a:cubicBezTo>
                  <a:cubicBezTo>
                    <a:pt x="3152317" y="206959"/>
                    <a:pt x="3033964" y="88606"/>
                    <a:pt x="2887968" y="88606"/>
                  </a:cubicBezTo>
                  <a:close/>
                  <a:moveTo>
                    <a:pt x="352955" y="0"/>
                  </a:moveTo>
                  <a:lnTo>
                    <a:pt x="2893165" y="0"/>
                  </a:lnTo>
                  <a:cubicBezTo>
                    <a:pt x="3088097" y="0"/>
                    <a:pt x="3246120" y="158023"/>
                    <a:pt x="3246120" y="352955"/>
                  </a:cubicBezTo>
                  <a:cubicBezTo>
                    <a:pt x="3246120" y="547887"/>
                    <a:pt x="3088097" y="705910"/>
                    <a:pt x="2893165" y="705910"/>
                  </a:cubicBezTo>
                  <a:lnTo>
                    <a:pt x="352955" y="705910"/>
                  </a:lnTo>
                  <a:cubicBezTo>
                    <a:pt x="158023" y="705910"/>
                    <a:pt x="0" y="547887"/>
                    <a:pt x="0" y="352955"/>
                  </a:cubicBezTo>
                  <a:cubicBezTo>
                    <a:pt x="0" y="158023"/>
                    <a:pt x="158023" y="0"/>
                    <a:pt x="352955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1016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74" name="圆角矩形 102"/>
            <p:cNvSpPr/>
            <p:nvPr/>
          </p:nvSpPr>
          <p:spPr>
            <a:xfrm>
              <a:off x="6194875" y="1863386"/>
              <a:ext cx="3048369" cy="528698"/>
            </a:xfrm>
            <a:prstGeom prst="roundRect">
              <a:avLst>
                <a:gd name="adj" fmla="val 50000"/>
              </a:avLst>
            </a:prstGeom>
            <a:noFill/>
            <a:ln w="19050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75" name="圆角矩形 103"/>
            <p:cNvSpPr/>
            <p:nvPr/>
          </p:nvSpPr>
          <p:spPr>
            <a:xfrm>
              <a:off x="6095999" y="1787986"/>
              <a:ext cx="3246120" cy="705910"/>
            </a:xfrm>
            <a:prstGeom prst="roundRect">
              <a:avLst>
                <a:gd name="adj" fmla="val 50000"/>
              </a:avLst>
            </a:prstGeom>
            <a:noFill/>
            <a:ln w="19050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51" name="文本框 95"/>
          <p:cNvSpPr txBox="1"/>
          <p:nvPr/>
        </p:nvSpPr>
        <p:spPr>
          <a:xfrm>
            <a:off x="8461295" y="5583819"/>
            <a:ext cx="2147207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z-Cyrl-UZ" altLang="zh-CN" sz="2667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610 </a:t>
            </a:r>
            <a:r>
              <a:rPr lang="uz-Cyrl-UZ" altLang="zh-CN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дприятий</a:t>
            </a:r>
            <a:endParaRPr lang="zh-CN" altLang="en-US" sz="1200" b="1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8" name="文本框 92"/>
          <p:cNvSpPr txBox="1"/>
          <p:nvPr/>
        </p:nvSpPr>
        <p:spPr>
          <a:xfrm>
            <a:off x="8496267" y="2046429"/>
            <a:ext cx="903927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z-Cyrl-UZ" altLang="zh-CN" sz="2667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60</a:t>
            </a:r>
            <a:r>
              <a:rPr lang="en-US" altLang="zh-CN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%</a:t>
            </a:r>
            <a:endParaRPr lang="zh-CN" altLang="en-US" sz="1200" b="1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9" name="文本框 93"/>
          <p:cNvSpPr txBox="1"/>
          <p:nvPr/>
        </p:nvSpPr>
        <p:spPr>
          <a:xfrm>
            <a:off x="8528110" y="3165997"/>
            <a:ext cx="903927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z-Cyrl-UZ" altLang="zh-CN" sz="2667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63</a:t>
            </a:r>
            <a:r>
              <a:rPr lang="en-US" altLang="zh-CN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%</a:t>
            </a:r>
            <a:endParaRPr lang="zh-CN" altLang="en-US" sz="1200" b="1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0" name="文本框 94"/>
          <p:cNvSpPr txBox="1"/>
          <p:nvPr/>
        </p:nvSpPr>
        <p:spPr>
          <a:xfrm>
            <a:off x="8528110" y="4579081"/>
            <a:ext cx="903927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z-Cyrl-UZ" altLang="zh-CN" sz="2667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84</a:t>
            </a:r>
            <a:r>
              <a:rPr lang="en-US" altLang="zh-CN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%</a:t>
            </a:r>
            <a:endParaRPr lang="zh-CN" altLang="en-US" sz="1200" b="1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文本框 93">
            <a:extLst>
              <a:ext uri="{FF2B5EF4-FFF2-40B4-BE49-F238E27FC236}">
                <a16:creationId xmlns:a16="http://schemas.microsoft.com/office/drawing/2014/main" id="{47E72E6B-94E8-C66B-E9BE-9578ADA703BE}"/>
              </a:ext>
            </a:extLst>
          </p:cNvPr>
          <p:cNvSpPr txBox="1"/>
          <p:nvPr/>
        </p:nvSpPr>
        <p:spPr>
          <a:xfrm>
            <a:off x="8444109" y="2001241"/>
            <a:ext cx="903927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z-Cyrl-UZ" altLang="zh-CN" sz="2667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60</a:t>
            </a:r>
            <a:r>
              <a:rPr lang="en-US" altLang="zh-CN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%</a:t>
            </a:r>
            <a:endParaRPr lang="zh-CN" altLang="en-US" sz="1200" b="1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" name="任意多边形 18">
            <a:extLst>
              <a:ext uri="{FF2B5EF4-FFF2-40B4-BE49-F238E27FC236}">
                <a16:creationId xmlns:a16="http://schemas.microsoft.com/office/drawing/2014/main" id="{346FB5C0-09F0-BB3A-D9E9-902048E6D738}"/>
              </a:ext>
            </a:extLst>
          </p:cNvPr>
          <p:cNvSpPr/>
          <p:nvPr/>
        </p:nvSpPr>
        <p:spPr>
          <a:xfrm>
            <a:off x="8347619" y="1944166"/>
            <a:ext cx="2740936" cy="673209"/>
          </a:xfrm>
          <a:custGeom>
            <a:avLst/>
            <a:gdLst>
              <a:gd name="connsiteX0" fmla="*/ 264349 w 1760619"/>
              <a:gd name="connsiteY0" fmla="*/ 0 h 528698"/>
              <a:gd name="connsiteX1" fmla="*/ 1760619 w 1760619"/>
              <a:gd name="connsiteY1" fmla="*/ 0 h 528698"/>
              <a:gd name="connsiteX2" fmla="*/ 1760619 w 1760619"/>
              <a:gd name="connsiteY2" fmla="*/ 528698 h 528698"/>
              <a:gd name="connsiteX3" fmla="*/ 264349 w 1760619"/>
              <a:gd name="connsiteY3" fmla="*/ 528698 h 528698"/>
              <a:gd name="connsiteX4" fmla="*/ 0 w 1760619"/>
              <a:gd name="connsiteY4" fmla="*/ 264349 h 528698"/>
              <a:gd name="connsiteX5" fmla="*/ 264349 w 1760619"/>
              <a:gd name="connsiteY5" fmla="*/ 0 h 52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60619" h="528698">
                <a:moveTo>
                  <a:pt x="264349" y="0"/>
                </a:moveTo>
                <a:lnTo>
                  <a:pt x="1760619" y="0"/>
                </a:lnTo>
                <a:lnTo>
                  <a:pt x="1760619" y="528698"/>
                </a:lnTo>
                <a:lnTo>
                  <a:pt x="264349" y="528698"/>
                </a:lnTo>
                <a:cubicBezTo>
                  <a:pt x="118353" y="528698"/>
                  <a:pt x="0" y="410345"/>
                  <a:pt x="0" y="264349"/>
                </a:cubicBezTo>
                <a:cubicBezTo>
                  <a:pt x="0" y="118353"/>
                  <a:pt x="118353" y="0"/>
                  <a:pt x="26434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文本框 93">
            <a:extLst>
              <a:ext uri="{FF2B5EF4-FFF2-40B4-BE49-F238E27FC236}">
                <a16:creationId xmlns:a16="http://schemas.microsoft.com/office/drawing/2014/main" id="{EA47561F-28D4-AC8C-2DEA-6648C6E10C7E}"/>
              </a:ext>
            </a:extLst>
          </p:cNvPr>
          <p:cNvSpPr txBox="1"/>
          <p:nvPr/>
        </p:nvSpPr>
        <p:spPr>
          <a:xfrm>
            <a:off x="8496267" y="1989952"/>
            <a:ext cx="903927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z-Cyrl-UZ" altLang="zh-CN" sz="2667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70</a:t>
            </a:r>
            <a:r>
              <a:rPr lang="en-US" altLang="zh-CN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%</a:t>
            </a:r>
            <a:endParaRPr lang="zh-CN" altLang="en-US" sz="1200" b="1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4EC4181-2103-2514-CDCE-B2D6D36B1A26}"/>
              </a:ext>
            </a:extLst>
          </p:cNvPr>
          <p:cNvSpPr txBox="1"/>
          <p:nvPr/>
        </p:nvSpPr>
        <p:spPr>
          <a:xfrm>
            <a:off x="11036641" y="1304377"/>
            <a:ext cx="121044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aa-ET" sz="2400" b="1" dirty="0">
                <a:solidFill>
                  <a:schemeClr val="tx2"/>
                </a:solidFill>
              </a:rPr>
              <a:t>✅</a:t>
            </a:r>
            <a:r>
              <a:rPr lang="en-US" sz="2400" b="1" dirty="0">
                <a:solidFill>
                  <a:schemeClr val="tx2"/>
                </a:solidFill>
              </a:rPr>
              <a:t>KPI</a:t>
            </a:r>
            <a:r>
              <a:rPr lang="ru-RU" sz="2400" b="1" dirty="0">
                <a:solidFill>
                  <a:schemeClr val="tx2"/>
                </a:solidFill>
              </a:rPr>
              <a:t> </a:t>
            </a:r>
            <a:r>
              <a:rPr lang="aa-ET" sz="240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820547-950F-79D9-8BC3-A843498DD28F}"/>
              </a:ext>
            </a:extLst>
          </p:cNvPr>
          <p:cNvSpPr txBox="1"/>
          <p:nvPr/>
        </p:nvSpPr>
        <p:spPr>
          <a:xfrm>
            <a:off x="8528108" y="1304377"/>
            <a:ext cx="28004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aa-ET" sz="2400" dirty="0">
                <a:solidFill>
                  <a:schemeClr val="tx2"/>
                </a:solidFill>
              </a:rPr>
              <a:t>📈</a:t>
            </a:r>
            <a:r>
              <a:rPr lang="ru-RU" sz="1733" b="1" dirty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сполнение</a:t>
            </a:r>
            <a:endParaRPr lang="aa-ET" sz="1733" b="1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4878C5A-EC7B-369F-0F1E-2B6731B8637C}"/>
              </a:ext>
            </a:extLst>
          </p:cNvPr>
          <p:cNvSpPr txBox="1"/>
          <p:nvPr/>
        </p:nvSpPr>
        <p:spPr>
          <a:xfrm>
            <a:off x="3023659" y="1304377"/>
            <a:ext cx="30723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aa-ET" sz="2400" dirty="0">
                <a:solidFill>
                  <a:schemeClr val="tx2"/>
                </a:solidFill>
              </a:rPr>
              <a:t>🎯</a:t>
            </a:r>
            <a:r>
              <a:rPr lang="kk-KZ" sz="2400" dirty="0">
                <a:solidFill>
                  <a:schemeClr val="tx2"/>
                </a:solidFill>
              </a:rPr>
              <a:t> </a:t>
            </a:r>
            <a:r>
              <a:rPr lang="ru-RU" sz="1733" b="1" dirty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дикаторы</a:t>
            </a:r>
            <a:endParaRPr lang="aa-ET" sz="1733" b="1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815413" y="3058557"/>
            <a:ext cx="88874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267" b="1" dirty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815413" y="1988840"/>
            <a:ext cx="88874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267" b="1" dirty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815413" y="4384411"/>
            <a:ext cx="88874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267" b="1" dirty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815413" y="5447639"/>
            <a:ext cx="88874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267" b="1" dirty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3983C6D-8DCE-EF2E-225D-4D7136ED247E}"/>
              </a:ext>
            </a:extLst>
          </p:cNvPr>
          <p:cNvSpPr txBox="1"/>
          <p:nvPr/>
        </p:nvSpPr>
        <p:spPr>
          <a:xfrm>
            <a:off x="11770993" y="6488668"/>
            <a:ext cx="407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KZ" sz="1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93717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C863F9-2EF7-D5FC-C9B7-D3F53C0041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8C16163-94AD-39CC-C630-C09B7824A728}"/>
              </a:ext>
            </a:extLst>
          </p:cNvPr>
          <p:cNvSpPr txBox="1"/>
          <p:nvPr/>
        </p:nvSpPr>
        <p:spPr>
          <a:xfrm>
            <a:off x="18154" y="146711"/>
            <a:ext cx="121919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оциальная защита лиц, занятых во вредных условиях труда</a:t>
            </a:r>
            <a:endParaRPr lang="en-US" sz="2400" b="1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38" name="图片 57">
            <a:extLst>
              <a:ext uri="{FF2B5EF4-FFF2-40B4-BE49-F238E27FC236}">
                <a16:creationId xmlns:a16="http://schemas.microsoft.com/office/drawing/2014/main" id="{1DF646CF-EB0D-8F4D-8CB6-7BA45DBDAB8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918" y="1003932"/>
            <a:ext cx="5547191" cy="1932835"/>
          </a:xfrm>
          <a:prstGeom prst="rect">
            <a:avLst/>
          </a:prstGeom>
        </p:spPr>
      </p:pic>
      <p:sp>
        <p:nvSpPr>
          <p:cNvPr id="39" name="文本框 130">
            <a:extLst>
              <a:ext uri="{FF2B5EF4-FFF2-40B4-BE49-F238E27FC236}">
                <a16:creationId xmlns:a16="http://schemas.microsoft.com/office/drawing/2014/main" id="{C6B9567D-FA2A-0EF2-F68E-9998259A614D}"/>
              </a:ext>
            </a:extLst>
          </p:cNvPr>
          <p:cNvSpPr txBox="1"/>
          <p:nvPr/>
        </p:nvSpPr>
        <p:spPr>
          <a:xfrm>
            <a:off x="633270" y="1599786"/>
            <a:ext cx="8659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>
              <a:defRPr/>
            </a:pPr>
            <a:r>
              <a:rPr lang="ru-RU" altLang="zh-CN" sz="3200" kern="0" dirty="0">
                <a:solidFill>
                  <a:srgbClr val="007A37"/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ССВ</a:t>
            </a:r>
            <a:endParaRPr lang="zh-CN" altLang="en-US" sz="3200" kern="0" dirty="0">
              <a:solidFill>
                <a:srgbClr val="007A37"/>
              </a:solidFill>
              <a:latin typeface="Impact" panose="020B0806030902050204" pitchFamily="34" charset="0"/>
              <a:cs typeface="Aharoni" panose="02010803020104030203" pitchFamily="2" charset="-79"/>
            </a:endParaRPr>
          </a:p>
        </p:txBody>
      </p:sp>
      <p:sp>
        <p:nvSpPr>
          <p:cNvPr id="40" name="TextBox 90">
            <a:extLst>
              <a:ext uri="{FF2B5EF4-FFF2-40B4-BE49-F238E27FC236}">
                <a16:creationId xmlns:a16="http://schemas.microsoft.com/office/drawing/2014/main" id="{8CBB547E-AA16-DBC9-4856-AFA13B90CF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5901" y="1352117"/>
            <a:ext cx="1403205" cy="369332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kk-KZ" altLang="ru-RU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значено</a:t>
            </a:r>
            <a:endParaRPr lang="ru-RU" altLang="ru-RU" b="1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90">
            <a:extLst>
              <a:ext uri="{FF2B5EF4-FFF2-40B4-BE49-F238E27FC236}">
                <a16:creationId xmlns:a16="http://schemas.microsoft.com/office/drawing/2014/main" id="{B6EF663B-5062-F6BC-3CAC-1163FC490E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64365" y="1352117"/>
            <a:ext cx="1499770" cy="369332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kk-KZ" altLang="ru-RU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ыплачено</a:t>
            </a:r>
            <a:endParaRPr lang="ru-RU" altLang="ru-RU" b="1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25">
            <a:extLst>
              <a:ext uri="{FF2B5EF4-FFF2-40B4-BE49-F238E27FC236}">
                <a16:creationId xmlns:a16="http://schemas.microsoft.com/office/drawing/2014/main" id="{81126C0B-A08F-1A80-7046-F52E7D98D4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5899" y="1788581"/>
            <a:ext cx="140320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altLang="ru-RU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,</a:t>
            </a:r>
            <a:r>
              <a:rPr lang="en-US" altLang="ru-RU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altLang="ru-RU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defTabSz="244869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altLang="ru-RU" sz="18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. чел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E56F133-3330-B7A5-28C7-7F3C68526300}"/>
              </a:ext>
            </a:extLst>
          </p:cNvPr>
          <p:cNvSpPr txBox="1"/>
          <p:nvPr/>
        </p:nvSpPr>
        <p:spPr>
          <a:xfrm>
            <a:off x="3448268" y="1788581"/>
            <a:ext cx="1731963" cy="738664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endParaRPr lang="ru-RU" altLang="ru-RU" sz="2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4486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тенге</a:t>
            </a:r>
          </a:p>
        </p:txBody>
      </p:sp>
      <p:pic>
        <p:nvPicPr>
          <p:cNvPr id="45" name="图片 57">
            <a:extLst>
              <a:ext uri="{FF2B5EF4-FFF2-40B4-BE49-F238E27FC236}">
                <a16:creationId xmlns:a16="http://schemas.microsoft.com/office/drawing/2014/main" id="{3CAA7A6F-8381-292C-665E-837C9F34A4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8981" y="1003932"/>
            <a:ext cx="5547191" cy="1932835"/>
          </a:xfrm>
          <a:prstGeom prst="rect">
            <a:avLst/>
          </a:prstGeom>
        </p:spPr>
      </p:pic>
      <p:sp>
        <p:nvSpPr>
          <p:cNvPr id="46" name="文本框 130">
            <a:extLst>
              <a:ext uri="{FF2B5EF4-FFF2-40B4-BE49-F238E27FC236}">
                <a16:creationId xmlns:a16="http://schemas.microsoft.com/office/drawing/2014/main" id="{E77EB830-58D8-84AF-06D6-2B4CDB71A2C0}"/>
              </a:ext>
            </a:extLst>
          </p:cNvPr>
          <p:cNvSpPr txBox="1"/>
          <p:nvPr/>
        </p:nvSpPr>
        <p:spPr>
          <a:xfrm>
            <a:off x="6435336" y="1571618"/>
            <a:ext cx="109196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>
              <a:defRPr/>
            </a:pPr>
            <a:r>
              <a:rPr lang="ru-RU" altLang="zh-CN" sz="3200" kern="0" dirty="0">
                <a:solidFill>
                  <a:srgbClr val="007A37"/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ОСНС</a:t>
            </a:r>
            <a:endParaRPr lang="zh-CN" altLang="en-US" sz="3200" kern="0" dirty="0">
              <a:solidFill>
                <a:srgbClr val="007A37"/>
              </a:solidFill>
              <a:latin typeface="Impact" panose="020B0806030902050204" pitchFamily="34" charset="0"/>
              <a:cs typeface="Aharoni" panose="02010803020104030203" pitchFamily="2" charset="-79"/>
            </a:endParaRPr>
          </a:p>
        </p:txBody>
      </p:sp>
      <p:sp>
        <p:nvSpPr>
          <p:cNvPr id="47" name="TextBox 25">
            <a:extLst>
              <a:ext uri="{FF2B5EF4-FFF2-40B4-BE49-F238E27FC236}">
                <a16:creationId xmlns:a16="http://schemas.microsoft.com/office/drawing/2014/main" id="{4C209D00-DBAA-DA21-AC15-7F4560DB08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06853" y="1478540"/>
            <a:ext cx="267140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alt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двухкомпонентного страхового тарифа*</a:t>
            </a:r>
          </a:p>
        </p:txBody>
      </p:sp>
      <p:grpSp>
        <p:nvGrpSpPr>
          <p:cNvPr id="68" name="组合 11">
            <a:extLst>
              <a:ext uri="{FF2B5EF4-FFF2-40B4-BE49-F238E27FC236}">
                <a16:creationId xmlns:a16="http://schemas.microsoft.com/office/drawing/2014/main" id="{F4685DF0-5424-6C0E-0EA6-6311920BFDDA}"/>
              </a:ext>
            </a:extLst>
          </p:cNvPr>
          <p:cNvGrpSpPr/>
          <p:nvPr/>
        </p:nvGrpSpPr>
        <p:grpSpPr>
          <a:xfrm>
            <a:off x="648625" y="2991123"/>
            <a:ext cx="1600257" cy="1160792"/>
            <a:chOff x="6621201" y="2075542"/>
            <a:chExt cx="2314727" cy="1679053"/>
          </a:xfrm>
        </p:grpSpPr>
        <p:sp>
          <p:nvSpPr>
            <p:cNvPr id="69" name="矩形 3">
              <a:extLst>
                <a:ext uri="{FF2B5EF4-FFF2-40B4-BE49-F238E27FC236}">
                  <a16:creationId xmlns:a16="http://schemas.microsoft.com/office/drawing/2014/main" id="{02D15881-6C78-DB3C-DD04-13D5E9ACAD91}"/>
                </a:ext>
              </a:extLst>
            </p:cNvPr>
            <p:cNvSpPr/>
            <p:nvPr userDrawn="1"/>
          </p:nvSpPr>
          <p:spPr>
            <a:xfrm rot="2100000">
              <a:off x="6944687" y="2585422"/>
              <a:ext cx="1991241" cy="1169173"/>
            </a:xfrm>
            <a:custGeom>
              <a:avLst/>
              <a:gdLst>
                <a:gd name="connsiteX0" fmla="*/ 0 w 5930900"/>
                <a:gd name="connsiteY0" fmla="*/ 0 h 2316335"/>
                <a:gd name="connsiteX1" fmla="*/ 5930900 w 5930900"/>
                <a:gd name="connsiteY1" fmla="*/ 0 h 2316335"/>
                <a:gd name="connsiteX2" fmla="*/ 5930900 w 5930900"/>
                <a:gd name="connsiteY2" fmla="*/ 2316335 h 2316335"/>
                <a:gd name="connsiteX3" fmla="*/ 0 w 5930900"/>
                <a:gd name="connsiteY3" fmla="*/ 2316335 h 2316335"/>
                <a:gd name="connsiteX4" fmla="*/ 0 w 5930900"/>
                <a:gd name="connsiteY4" fmla="*/ 0 h 2316335"/>
                <a:gd name="connsiteX0" fmla="*/ 0 w 5930900"/>
                <a:gd name="connsiteY0" fmla="*/ 0 h 2316335"/>
                <a:gd name="connsiteX1" fmla="*/ 399455 w 5930900"/>
                <a:gd name="connsiteY1" fmla="*/ 3465 h 2316335"/>
                <a:gd name="connsiteX2" fmla="*/ 5930900 w 5930900"/>
                <a:gd name="connsiteY2" fmla="*/ 0 h 2316335"/>
                <a:gd name="connsiteX3" fmla="*/ 5930900 w 5930900"/>
                <a:gd name="connsiteY3" fmla="*/ 2316335 h 2316335"/>
                <a:gd name="connsiteX4" fmla="*/ 0 w 5930900"/>
                <a:gd name="connsiteY4" fmla="*/ 2316335 h 2316335"/>
                <a:gd name="connsiteX5" fmla="*/ 0 w 5930900"/>
                <a:gd name="connsiteY5" fmla="*/ 0 h 2316335"/>
                <a:gd name="connsiteX0" fmla="*/ 0 w 5930900"/>
                <a:gd name="connsiteY0" fmla="*/ 2316335 h 2316335"/>
                <a:gd name="connsiteX1" fmla="*/ 399455 w 5930900"/>
                <a:gd name="connsiteY1" fmla="*/ 3465 h 2316335"/>
                <a:gd name="connsiteX2" fmla="*/ 5930900 w 5930900"/>
                <a:gd name="connsiteY2" fmla="*/ 0 h 2316335"/>
                <a:gd name="connsiteX3" fmla="*/ 5930900 w 5930900"/>
                <a:gd name="connsiteY3" fmla="*/ 2316335 h 2316335"/>
                <a:gd name="connsiteX4" fmla="*/ 0 w 5930900"/>
                <a:gd name="connsiteY4" fmla="*/ 2316335 h 2316335"/>
                <a:gd name="connsiteX0" fmla="*/ 0 w 5930900"/>
                <a:gd name="connsiteY0" fmla="*/ 2316335 h 2316335"/>
                <a:gd name="connsiteX1" fmla="*/ 494039 w 5930900"/>
                <a:gd name="connsiteY1" fmla="*/ 23225 h 2316335"/>
                <a:gd name="connsiteX2" fmla="*/ 5930900 w 5930900"/>
                <a:gd name="connsiteY2" fmla="*/ 0 h 2316335"/>
                <a:gd name="connsiteX3" fmla="*/ 5930900 w 5930900"/>
                <a:gd name="connsiteY3" fmla="*/ 2316335 h 2316335"/>
                <a:gd name="connsiteX4" fmla="*/ 0 w 5930900"/>
                <a:gd name="connsiteY4" fmla="*/ 2316335 h 2316335"/>
                <a:gd name="connsiteX0" fmla="*/ 1 w 5736813"/>
                <a:gd name="connsiteY0" fmla="*/ 2316313 h 2316335"/>
                <a:gd name="connsiteX1" fmla="*/ 299952 w 5736813"/>
                <a:gd name="connsiteY1" fmla="*/ 23225 h 2316335"/>
                <a:gd name="connsiteX2" fmla="*/ 5736813 w 5736813"/>
                <a:gd name="connsiteY2" fmla="*/ 0 h 2316335"/>
                <a:gd name="connsiteX3" fmla="*/ 5736813 w 5736813"/>
                <a:gd name="connsiteY3" fmla="*/ 2316335 h 2316335"/>
                <a:gd name="connsiteX4" fmla="*/ 1 w 5736813"/>
                <a:gd name="connsiteY4" fmla="*/ 2316313 h 231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6813" h="2316335">
                  <a:moveTo>
                    <a:pt x="1" y="2316313"/>
                  </a:moveTo>
                  <a:lnTo>
                    <a:pt x="299952" y="23225"/>
                  </a:lnTo>
                  <a:lnTo>
                    <a:pt x="5736813" y="0"/>
                  </a:lnTo>
                  <a:lnTo>
                    <a:pt x="5736813" y="2316335"/>
                  </a:lnTo>
                  <a:lnTo>
                    <a:pt x="1" y="2316313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0">
                  <a:schemeClr val="tx1">
                    <a:alpha val="30000"/>
                  </a:schemeClr>
                </a:gs>
              </a:gsLst>
              <a:lin ang="18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77">
                <a:defRPr/>
              </a:pPr>
              <a:endParaRPr lang="zh-CN" altLang="en-US" sz="1051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  <p:grpSp>
          <p:nvGrpSpPr>
            <p:cNvPr id="70" name="组合 13">
              <a:extLst>
                <a:ext uri="{FF2B5EF4-FFF2-40B4-BE49-F238E27FC236}">
                  <a16:creationId xmlns:a16="http://schemas.microsoft.com/office/drawing/2014/main" id="{24BDCD43-BD31-AC33-FE1F-04A5003EAF45}"/>
                </a:ext>
              </a:extLst>
            </p:cNvPr>
            <p:cNvGrpSpPr/>
            <p:nvPr/>
          </p:nvGrpSpPr>
          <p:grpSpPr>
            <a:xfrm>
              <a:off x="6621202" y="2075543"/>
              <a:ext cx="1190041" cy="1190039"/>
              <a:chOff x="5663488" y="1758240"/>
              <a:chExt cx="1874676" cy="1874672"/>
            </a:xfrm>
          </p:grpSpPr>
          <p:sp>
            <p:nvSpPr>
              <p:cNvPr id="71" name="圆角矩形 7">
                <a:extLst>
                  <a:ext uri="{FF2B5EF4-FFF2-40B4-BE49-F238E27FC236}">
                    <a16:creationId xmlns:a16="http://schemas.microsoft.com/office/drawing/2014/main" id="{986A2601-CC0F-56DD-1B05-6D6D5E7EED47}"/>
                  </a:ext>
                </a:extLst>
              </p:cNvPr>
              <p:cNvSpPr/>
              <p:nvPr/>
            </p:nvSpPr>
            <p:spPr>
              <a:xfrm>
                <a:off x="5663488" y="1758240"/>
                <a:ext cx="1874676" cy="187467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77">
                  <a:defRPr/>
                </a:pPr>
                <a:endParaRPr lang="zh-CN" altLang="en-US" sz="1200"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72" name="椭圆 15">
                <a:extLst>
                  <a:ext uri="{FF2B5EF4-FFF2-40B4-BE49-F238E27FC236}">
                    <a16:creationId xmlns:a16="http://schemas.microsoft.com/office/drawing/2014/main" id="{E4614DB5-E34C-6958-CE0F-BE5CC51B669B}"/>
                  </a:ext>
                </a:extLst>
              </p:cNvPr>
              <p:cNvSpPr/>
              <p:nvPr/>
            </p:nvSpPr>
            <p:spPr>
              <a:xfrm>
                <a:off x="5928512" y="2023262"/>
                <a:ext cx="1344632" cy="1344632"/>
              </a:xfrm>
              <a:prstGeom prst="ellipse">
                <a:avLst/>
              </a:prstGeom>
              <a:solidFill>
                <a:schemeClr val="accent1"/>
              </a:solidFill>
              <a:ln w="76200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77">
                  <a:defRPr/>
                </a:pPr>
                <a:endParaRPr lang="zh-CN" altLang="en-US" sz="4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+mn-ea"/>
                  <a:sym typeface="+mn-lt"/>
                </a:endParaRPr>
              </a:p>
            </p:txBody>
          </p:sp>
          <p:sp>
            <p:nvSpPr>
              <p:cNvPr id="73" name="圆角矩形 7">
                <a:extLst>
                  <a:ext uri="{FF2B5EF4-FFF2-40B4-BE49-F238E27FC236}">
                    <a16:creationId xmlns:a16="http://schemas.microsoft.com/office/drawing/2014/main" id="{BDE70AB0-4C3A-B601-D2B4-DB21E1CA03FB}"/>
                  </a:ext>
                </a:extLst>
              </p:cNvPr>
              <p:cNvSpPr/>
              <p:nvPr/>
            </p:nvSpPr>
            <p:spPr>
              <a:xfrm>
                <a:off x="6324138" y="2362293"/>
                <a:ext cx="553376" cy="666567"/>
              </a:xfrm>
              <a:custGeom>
                <a:avLst/>
                <a:gdLst>
                  <a:gd name="T0" fmla="*/ 212 w 212"/>
                  <a:gd name="T1" fmla="*/ 160 h 256"/>
                  <a:gd name="T2" fmla="*/ 210 w 212"/>
                  <a:gd name="T3" fmla="*/ 171 h 256"/>
                  <a:gd name="T4" fmla="*/ 203 w 212"/>
                  <a:gd name="T5" fmla="*/ 180 h 256"/>
                  <a:gd name="T6" fmla="*/ 208 w 212"/>
                  <a:gd name="T7" fmla="*/ 188 h 256"/>
                  <a:gd name="T8" fmla="*/ 209 w 212"/>
                  <a:gd name="T9" fmla="*/ 200 h 256"/>
                  <a:gd name="T10" fmla="*/ 205 w 212"/>
                  <a:gd name="T11" fmla="*/ 212 h 256"/>
                  <a:gd name="T12" fmla="*/ 200 w 212"/>
                  <a:gd name="T13" fmla="*/ 218 h 256"/>
                  <a:gd name="T14" fmla="*/ 193 w 212"/>
                  <a:gd name="T15" fmla="*/ 222 h 256"/>
                  <a:gd name="T16" fmla="*/ 194 w 212"/>
                  <a:gd name="T17" fmla="*/ 235 h 256"/>
                  <a:gd name="T18" fmla="*/ 186 w 212"/>
                  <a:gd name="T19" fmla="*/ 245 h 256"/>
                  <a:gd name="T20" fmla="*/ 176 w 212"/>
                  <a:gd name="T21" fmla="*/ 251 h 256"/>
                  <a:gd name="T22" fmla="*/ 169 w 212"/>
                  <a:gd name="T23" fmla="*/ 254 h 256"/>
                  <a:gd name="T24" fmla="*/ 131 w 212"/>
                  <a:gd name="T25" fmla="*/ 256 h 256"/>
                  <a:gd name="T26" fmla="*/ 91 w 212"/>
                  <a:gd name="T27" fmla="*/ 254 h 256"/>
                  <a:gd name="T28" fmla="*/ 60 w 212"/>
                  <a:gd name="T29" fmla="*/ 247 h 256"/>
                  <a:gd name="T30" fmla="*/ 55 w 212"/>
                  <a:gd name="T31" fmla="*/ 245 h 256"/>
                  <a:gd name="T32" fmla="*/ 50 w 212"/>
                  <a:gd name="T33" fmla="*/ 242 h 256"/>
                  <a:gd name="T34" fmla="*/ 46 w 212"/>
                  <a:gd name="T35" fmla="*/ 239 h 256"/>
                  <a:gd name="T36" fmla="*/ 42 w 212"/>
                  <a:gd name="T37" fmla="*/ 234 h 256"/>
                  <a:gd name="T38" fmla="*/ 0 w 212"/>
                  <a:gd name="T39" fmla="*/ 230 h 256"/>
                  <a:gd name="T40" fmla="*/ 0 w 212"/>
                  <a:gd name="T41" fmla="*/ 136 h 256"/>
                  <a:gd name="T42" fmla="*/ 15 w 212"/>
                  <a:gd name="T43" fmla="*/ 136 h 256"/>
                  <a:gd name="T44" fmla="*/ 30 w 212"/>
                  <a:gd name="T45" fmla="*/ 136 h 256"/>
                  <a:gd name="T46" fmla="*/ 37 w 212"/>
                  <a:gd name="T47" fmla="*/ 131 h 256"/>
                  <a:gd name="T48" fmla="*/ 41 w 212"/>
                  <a:gd name="T49" fmla="*/ 127 h 256"/>
                  <a:gd name="T50" fmla="*/ 43 w 212"/>
                  <a:gd name="T51" fmla="*/ 116 h 256"/>
                  <a:gd name="T52" fmla="*/ 46 w 212"/>
                  <a:gd name="T53" fmla="*/ 104 h 256"/>
                  <a:gd name="T54" fmla="*/ 50 w 212"/>
                  <a:gd name="T55" fmla="*/ 95 h 256"/>
                  <a:gd name="T56" fmla="*/ 56 w 212"/>
                  <a:gd name="T57" fmla="*/ 84 h 256"/>
                  <a:gd name="T58" fmla="*/ 73 w 212"/>
                  <a:gd name="T59" fmla="*/ 68 h 256"/>
                  <a:gd name="T60" fmla="*/ 89 w 212"/>
                  <a:gd name="T61" fmla="*/ 18 h 256"/>
                  <a:gd name="T62" fmla="*/ 89 w 212"/>
                  <a:gd name="T63" fmla="*/ 2 h 256"/>
                  <a:gd name="T64" fmla="*/ 97 w 212"/>
                  <a:gd name="T65" fmla="*/ 0 h 256"/>
                  <a:gd name="T66" fmla="*/ 117 w 212"/>
                  <a:gd name="T67" fmla="*/ 18 h 256"/>
                  <a:gd name="T68" fmla="*/ 121 w 212"/>
                  <a:gd name="T69" fmla="*/ 39 h 256"/>
                  <a:gd name="T70" fmla="*/ 114 w 212"/>
                  <a:gd name="T71" fmla="*/ 59 h 256"/>
                  <a:gd name="T72" fmla="*/ 109 w 212"/>
                  <a:gd name="T73" fmla="*/ 89 h 256"/>
                  <a:gd name="T74" fmla="*/ 113 w 212"/>
                  <a:gd name="T75" fmla="*/ 100 h 256"/>
                  <a:gd name="T76" fmla="*/ 122 w 212"/>
                  <a:gd name="T77" fmla="*/ 107 h 256"/>
                  <a:gd name="T78" fmla="*/ 126 w 212"/>
                  <a:gd name="T79" fmla="*/ 107 h 256"/>
                  <a:gd name="T80" fmla="*/ 131 w 212"/>
                  <a:gd name="T81" fmla="*/ 107 h 256"/>
                  <a:gd name="T82" fmla="*/ 136 w 212"/>
                  <a:gd name="T83" fmla="*/ 107 h 256"/>
                  <a:gd name="T84" fmla="*/ 141 w 212"/>
                  <a:gd name="T85" fmla="*/ 106 h 256"/>
                  <a:gd name="T86" fmla="*/ 152 w 212"/>
                  <a:gd name="T87" fmla="*/ 103 h 256"/>
                  <a:gd name="T88" fmla="*/ 164 w 212"/>
                  <a:gd name="T89" fmla="*/ 99 h 256"/>
                  <a:gd name="T90" fmla="*/ 188 w 212"/>
                  <a:gd name="T91" fmla="*/ 98 h 256"/>
                  <a:gd name="T92" fmla="*/ 198 w 212"/>
                  <a:gd name="T93" fmla="*/ 101 h 256"/>
                  <a:gd name="T94" fmla="*/ 205 w 212"/>
                  <a:gd name="T95" fmla="*/ 106 h 256"/>
                  <a:gd name="T96" fmla="*/ 206 w 212"/>
                  <a:gd name="T97" fmla="*/ 109 h 256"/>
                  <a:gd name="T98" fmla="*/ 207 w 212"/>
                  <a:gd name="T99" fmla="*/ 112 h 256"/>
                  <a:gd name="T100" fmla="*/ 208 w 212"/>
                  <a:gd name="T101" fmla="*/ 115 h 256"/>
                  <a:gd name="T102" fmla="*/ 208 w 212"/>
                  <a:gd name="T103" fmla="*/ 118 h 256"/>
                  <a:gd name="T104" fmla="*/ 208 w 212"/>
                  <a:gd name="T105" fmla="*/ 123 h 256"/>
                  <a:gd name="T106" fmla="*/ 203 w 212"/>
                  <a:gd name="T107" fmla="*/ 136 h 256"/>
                  <a:gd name="T108" fmla="*/ 205 w 212"/>
                  <a:gd name="T109" fmla="*/ 139 h 256"/>
                  <a:gd name="T110" fmla="*/ 207 w 212"/>
                  <a:gd name="T111" fmla="*/ 141 h 256"/>
                  <a:gd name="T112" fmla="*/ 209 w 212"/>
                  <a:gd name="T113" fmla="*/ 144 h 256"/>
                  <a:gd name="T114" fmla="*/ 210 w 212"/>
                  <a:gd name="T115" fmla="*/ 147 h 256"/>
                  <a:gd name="T116" fmla="*/ 211 w 212"/>
                  <a:gd name="T117" fmla="*/ 150 h 256"/>
                  <a:gd name="T118" fmla="*/ 212 w 212"/>
                  <a:gd name="T119" fmla="*/ 155 h 256"/>
                  <a:gd name="T120" fmla="*/ 212 w 212"/>
                  <a:gd name="T121" fmla="*/ 16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12" h="256">
                    <a:moveTo>
                      <a:pt x="212" y="160"/>
                    </a:moveTo>
                    <a:cubicBezTo>
                      <a:pt x="212" y="165"/>
                      <a:pt x="211" y="169"/>
                      <a:pt x="210" y="171"/>
                    </a:cubicBezTo>
                    <a:cubicBezTo>
                      <a:pt x="209" y="174"/>
                      <a:pt x="206" y="177"/>
                      <a:pt x="203" y="180"/>
                    </a:cubicBezTo>
                    <a:cubicBezTo>
                      <a:pt x="205" y="182"/>
                      <a:pt x="207" y="185"/>
                      <a:pt x="208" y="188"/>
                    </a:cubicBezTo>
                    <a:cubicBezTo>
                      <a:pt x="208" y="191"/>
                      <a:pt x="209" y="195"/>
                      <a:pt x="209" y="200"/>
                    </a:cubicBezTo>
                    <a:cubicBezTo>
                      <a:pt x="208" y="205"/>
                      <a:pt x="207" y="209"/>
                      <a:pt x="205" y="212"/>
                    </a:cubicBezTo>
                    <a:cubicBezTo>
                      <a:pt x="203" y="215"/>
                      <a:pt x="201" y="217"/>
                      <a:pt x="200" y="218"/>
                    </a:cubicBezTo>
                    <a:cubicBezTo>
                      <a:pt x="199" y="219"/>
                      <a:pt x="196" y="220"/>
                      <a:pt x="193" y="222"/>
                    </a:cubicBezTo>
                    <a:cubicBezTo>
                      <a:pt x="195" y="227"/>
                      <a:pt x="195" y="231"/>
                      <a:pt x="194" y="235"/>
                    </a:cubicBezTo>
                    <a:cubicBezTo>
                      <a:pt x="192" y="239"/>
                      <a:pt x="190" y="242"/>
                      <a:pt x="186" y="245"/>
                    </a:cubicBezTo>
                    <a:cubicBezTo>
                      <a:pt x="183" y="248"/>
                      <a:pt x="180" y="250"/>
                      <a:pt x="176" y="251"/>
                    </a:cubicBezTo>
                    <a:cubicBezTo>
                      <a:pt x="173" y="253"/>
                      <a:pt x="171" y="254"/>
                      <a:pt x="169" y="254"/>
                    </a:cubicBezTo>
                    <a:cubicBezTo>
                      <a:pt x="157" y="255"/>
                      <a:pt x="144" y="256"/>
                      <a:pt x="131" y="256"/>
                    </a:cubicBezTo>
                    <a:cubicBezTo>
                      <a:pt x="118" y="256"/>
                      <a:pt x="104" y="256"/>
                      <a:pt x="91" y="254"/>
                    </a:cubicBezTo>
                    <a:cubicBezTo>
                      <a:pt x="77" y="253"/>
                      <a:pt x="67" y="250"/>
                      <a:pt x="60" y="247"/>
                    </a:cubicBezTo>
                    <a:cubicBezTo>
                      <a:pt x="60" y="247"/>
                      <a:pt x="58" y="246"/>
                      <a:pt x="55" y="245"/>
                    </a:cubicBezTo>
                    <a:cubicBezTo>
                      <a:pt x="53" y="243"/>
                      <a:pt x="51" y="243"/>
                      <a:pt x="50" y="242"/>
                    </a:cubicBezTo>
                    <a:cubicBezTo>
                      <a:pt x="49" y="241"/>
                      <a:pt x="47" y="240"/>
                      <a:pt x="46" y="239"/>
                    </a:cubicBezTo>
                    <a:cubicBezTo>
                      <a:pt x="44" y="237"/>
                      <a:pt x="43" y="236"/>
                      <a:pt x="42" y="234"/>
                    </a:cubicBezTo>
                    <a:cubicBezTo>
                      <a:pt x="37" y="231"/>
                      <a:pt x="24" y="230"/>
                      <a:pt x="0" y="230"/>
                    </a:cubicBezTo>
                    <a:cubicBezTo>
                      <a:pt x="0" y="136"/>
                      <a:pt x="0" y="136"/>
                      <a:pt x="0" y="136"/>
                    </a:cubicBezTo>
                    <a:cubicBezTo>
                      <a:pt x="5" y="136"/>
                      <a:pt x="10" y="136"/>
                      <a:pt x="15" y="136"/>
                    </a:cubicBezTo>
                    <a:cubicBezTo>
                      <a:pt x="21" y="136"/>
                      <a:pt x="26" y="136"/>
                      <a:pt x="30" y="136"/>
                    </a:cubicBezTo>
                    <a:cubicBezTo>
                      <a:pt x="35" y="135"/>
                      <a:pt x="37" y="134"/>
                      <a:pt x="37" y="131"/>
                    </a:cubicBezTo>
                    <a:cubicBezTo>
                      <a:pt x="38" y="130"/>
                      <a:pt x="40" y="128"/>
                      <a:pt x="41" y="127"/>
                    </a:cubicBezTo>
                    <a:cubicBezTo>
                      <a:pt x="41" y="126"/>
                      <a:pt x="42" y="122"/>
                      <a:pt x="43" y="116"/>
                    </a:cubicBezTo>
                    <a:cubicBezTo>
                      <a:pt x="45" y="111"/>
                      <a:pt x="46" y="107"/>
                      <a:pt x="46" y="104"/>
                    </a:cubicBezTo>
                    <a:cubicBezTo>
                      <a:pt x="47" y="102"/>
                      <a:pt x="48" y="99"/>
                      <a:pt x="50" y="95"/>
                    </a:cubicBezTo>
                    <a:cubicBezTo>
                      <a:pt x="52" y="91"/>
                      <a:pt x="54" y="87"/>
                      <a:pt x="56" y="84"/>
                    </a:cubicBezTo>
                    <a:cubicBezTo>
                      <a:pt x="73" y="68"/>
                      <a:pt x="73" y="68"/>
                      <a:pt x="73" y="68"/>
                    </a:cubicBezTo>
                    <a:cubicBezTo>
                      <a:pt x="84" y="48"/>
                      <a:pt x="89" y="32"/>
                      <a:pt x="89" y="18"/>
                    </a:cubicBezTo>
                    <a:cubicBezTo>
                      <a:pt x="89" y="2"/>
                      <a:pt x="89" y="2"/>
                      <a:pt x="89" y="2"/>
                    </a:cubicBezTo>
                    <a:cubicBezTo>
                      <a:pt x="90" y="1"/>
                      <a:pt x="92" y="0"/>
                      <a:pt x="97" y="0"/>
                    </a:cubicBezTo>
                    <a:cubicBezTo>
                      <a:pt x="107" y="0"/>
                      <a:pt x="114" y="6"/>
                      <a:pt x="117" y="18"/>
                    </a:cubicBezTo>
                    <a:cubicBezTo>
                      <a:pt x="121" y="39"/>
                      <a:pt x="121" y="39"/>
                      <a:pt x="121" y="39"/>
                    </a:cubicBezTo>
                    <a:cubicBezTo>
                      <a:pt x="120" y="49"/>
                      <a:pt x="118" y="56"/>
                      <a:pt x="114" y="59"/>
                    </a:cubicBezTo>
                    <a:cubicBezTo>
                      <a:pt x="112" y="75"/>
                      <a:pt x="111" y="85"/>
                      <a:pt x="109" y="89"/>
                    </a:cubicBezTo>
                    <a:cubicBezTo>
                      <a:pt x="108" y="93"/>
                      <a:pt x="110" y="97"/>
                      <a:pt x="113" y="100"/>
                    </a:cubicBezTo>
                    <a:cubicBezTo>
                      <a:pt x="116" y="104"/>
                      <a:pt x="119" y="106"/>
                      <a:pt x="122" y="107"/>
                    </a:cubicBezTo>
                    <a:cubicBezTo>
                      <a:pt x="124" y="107"/>
                      <a:pt x="126" y="107"/>
                      <a:pt x="126" y="107"/>
                    </a:cubicBezTo>
                    <a:cubicBezTo>
                      <a:pt x="127" y="107"/>
                      <a:pt x="129" y="107"/>
                      <a:pt x="131" y="107"/>
                    </a:cubicBezTo>
                    <a:cubicBezTo>
                      <a:pt x="133" y="107"/>
                      <a:pt x="134" y="107"/>
                      <a:pt x="136" y="107"/>
                    </a:cubicBezTo>
                    <a:cubicBezTo>
                      <a:pt x="138" y="107"/>
                      <a:pt x="139" y="106"/>
                      <a:pt x="141" y="106"/>
                    </a:cubicBezTo>
                    <a:cubicBezTo>
                      <a:pt x="143" y="105"/>
                      <a:pt x="147" y="104"/>
                      <a:pt x="152" y="103"/>
                    </a:cubicBezTo>
                    <a:cubicBezTo>
                      <a:pt x="158" y="101"/>
                      <a:pt x="162" y="100"/>
                      <a:pt x="164" y="99"/>
                    </a:cubicBezTo>
                    <a:cubicBezTo>
                      <a:pt x="173" y="97"/>
                      <a:pt x="181" y="97"/>
                      <a:pt x="188" y="98"/>
                    </a:cubicBezTo>
                    <a:cubicBezTo>
                      <a:pt x="191" y="99"/>
                      <a:pt x="195" y="100"/>
                      <a:pt x="198" y="101"/>
                    </a:cubicBezTo>
                    <a:cubicBezTo>
                      <a:pt x="202" y="103"/>
                      <a:pt x="204" y="104"/>
                      <a:pt x="205" y="106"/>
                    </a:cubicBezTo>
                    <a:cubicBezTo>
                      <a:pt x="205" y="106"/>
                      <a:pt x="205" y="107"/>
                      <a:pt x="206" y="109"/>
                    </a:cubicBezTo>
                    <a:cubicBezTo>
                      <a:pt x="207" y="111"/>
                      <a:pt x="207" y="112"/>
                      <a:pt x="207" y="112"/>
                    </a:cubicBezTo>
                    <a:cubicBezTo>
                      <a:pt x="207" y="112"/>
                      <a:pt x="207" y="113"/>
                      <a:pt x="208" y="115"/>
                    </a:cubicBezTo>
                    <a:cubicBezTo>
                      <a:pt x="208" y="116"/>
                      <a:pt x="209" y="118"/>
                      <a:pt x="208" y="118"/>
                    </a:cubicBezTo>
                    <a:cubicBezTo>
                      <a:pt x="208" y="119"/>
                      <a:pt x="208" y="120"/>
                      <a:pt x="208" y="123"/>
                    </a:cubicBezTo>
                    <a:cubicBezTo>
                      <a:pt x="208" y="125"/>
                      <a:pt x="206" y="129"/>
                      <a:pt x="203" y="136"/>
                    </a:cubicBezTo>
                    <a:cubicBezTo>
                      <a:pt x="203" y="136"/>
                      <a:pt x="204" y="137"/>
                      <a:pt x="205" y="139"/>
                    </a:cubicBezTo>
                    <a:cubicBezTo>
                      <a:pt x="206" y="140"/>
                      <a:pt x="207" y="141"/>
                      <a:pt x="207" y="141"/>
                    </a:cubicBezTo>
                    <a:cubicBezTo>
                      <a:pt x="207" y="142"/>
                      <a:pt x="208" y="143"/>
                      <a:pt x="209" y="144"/>
                    </a:cubicBezTo>
                    <a:cubicBezTo>
                      <a:pt x="209" y="145"/>
                      <a:pt x="210" y="146"/>
                      <a:pt x="210" y="147"/>
                    </a:cubicBezTo>
                    <a:cubicBezTo>
                      <a:pt x="210" y="148"/>
                      <a:pt x="211" y="149"/>
                      <a:pt x="211" y="150"/>
                    </a:cubicBezTo>
                    <a:cubicBezTo>
                      <a:pt x="211" y="152"/>
                      <a:pt x="212" y="153"/>
                      <a:pt x="212" y="155"/>
                    </a:cubicBezTo>
                    <a:cubicBezTo>
                      <a:pt x="212" y="156"/>
                      <a:pt x="212" y="158"/>
                      <a:pt x="212" y="16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77">
                  <a:defRPr/>
                </a:pPr>
                <a:endParaRPr lang="zh-CN" altLang="en-US" sz="1200"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74" name="组合 17">
            <a:extLst>
              <a:ext uri="{FF2B5EF4-FFF2-40B4-BE49-F238E27FC236}">
                <a16:creationId xmlns:a16="http://schemas.microsoft.com/office/drawing/2014/main" id="{6CCF1473-65B6-EB33-D5F7-CEE50B0DAE91}"/>
              </a:ext>
            </a:extLst>
          </p:cNvPr>
          <p:cNvGrpSpPr/>
          <p:nvPr/>
        </p:nvGrpSpPr>
        <p:grpSpPr>
          <a:xfrm>
            <a:off x="6466909" y="2889811"/>
            <a:ext cx="1600257" cy="1160792"/>
            <a:chOff x="6621201" y="2075542"/>
            <a:chExt cx="2314727" cy="1679053"/>
          </a:xfrm>
        </p:grpSpPr>
        <p:sp>
          <p:nvSpPr>
            <p:cNvPr id="75" name="矩形 3">
              <a:extLst>
                <a:ext uri="{FF2B5EF4-FFF2-40B4-BE49-F238E27FC236}">
                  <a16:creationId xmlns:a16="http://schemas.microsoft.com/office/drawing/2014/main" id="{347257E8-1531-4D48-CDBF-3212A35CAB02}"/>
                </a:ext>
              </a:extLst>
            </p:cNvPr>
            <p:cNvSpPr/>
            <p:nvPr userDrawn="1"/>
          </p:nvSpPr>
          <p:spPr>
            <a:xfrm rot="2100000">
              <a:off x="6944687" y="2585422"/>
              <a:ext cx="1991241" cy="1169173"/>
            </a:xfrm>
            <a:custGeom>
              <a:avLst/>
              <a:gdLst>
                <a:gd name="connsiteX0" fmla="*/ 0 w 5930900"/>
                <a:gd name="connsiteY0" fmla="*/ 0 h 2316335"/>
                <a:gd name="connsiteX1" fmla="*/ 5930900 w 5930900"/>
                <a:gd name="connsiteY1" fmla="*/ 0 h 2316335"/>
                <a:gd name="connsiteX2" fmla="*/ 5930900 w 5930900"/>
                <a:gd name="connsiteY2" fmla="*/ 2316335 h 2316335"/>
                <a:gd name="connsiteX3" fmla="*/ 0 w 5930900"/>
                <a:gd name="connsiteY3" fmla="*/ 2316335 h 2316335"/>
                <a:gd name="connsiteX4" fmla="*/ 0 w 5930900"/>
                <a:gd name="connsiteY4" fmla="*/ 0 h 2316335"/>
                <a:gd name="connsiteX0" fmla="*/ 0 w 5930900"/>
                <a:gd name="connsiteY0" fmla="*/ 0 h 2316335"/>
                <a:gd name="connsiteX1" fmla="*/ 399455 w 5930900"/>
                <a:gd name="connsiteY1" fmla="*/ 3465 h 2316335"/>
                <a:gd name="connsiteX2" fmla="*/ 5930900 w 5930900"/>
                <a:gd name="connsiteY2" fmla="*/ 0 h 2316335"/>
                <a:gd name="connsiteX3" fmla="*/ 5930900 w 5930900"/>
                <a:gd name="connsiteY3" fmla="*/ 2316335 h 2316335"/>
                <a:gd name="connsiteX4" fmla="*/ 0 w 5930900"/>
                <a:gd name="connsiteY4" fmla="*/ 2316335 h 2316335"/>
                <a:gd name="connsiteX5" fmla="*/ 0 w 5930900"/>
                <a:gd name="connsiteY5" fmla="*/ 0 h 2316335"/>
                <a:gd name="connsiteX0" fmla="*/ 0 w 5930900"/>
                <a:gd name="connsiteY0" fmla="*/ 2316335 h 2316335"/>
                <a:gd name="connsiteX1" fmla="*/ 399455 w 5930900"/>
                <a:gd name="connsiteY1" fmla="*/ 3465 h 2316335"/>
                <a:gd name="connsiteX2" fmla="*/ 5930900 w 5930900"/>
                <a:gd name="connsiteY2" fmla="*/ 0 h 2316335"/>
                <a:gd name="connsiteX3" fmla="*/ 5930900 w 5930900"/>
                <a:gd name="connsiteY3" fmla="*/ 2316335 h 2316335"/>
                <a:gd name="connsiteX4" fmla="*/ 0 w 5930900"/>
                <a:gd name="connsiteY4" fmla="*/ 2316335 h 2316335"/>
                <a:gd name="connsiteX0" fmla="*/ 0 w 5930900"/>
                <a:gd name="connsiteY0" fmla="*/ 2316335 h 2316335"/>
                <a:gd name="connsiteX1" fmla="*/ 494039 w 5930900"/>
                <a:gd name="connsiteY1" fmla="*/ 23225 h 2316335"/>
                <a:gd name="connsiteX2" fmla="*/ 5930900 w 5930900"/>
                <a:gd name="connsiteY2" fmla="*/ 0 h 2316335"/>
                <a:gd name="connsiteX3" fmla="*/ 5930900 w 5930900"/>
                <a:gd name="connsiteY3" fmla="*/ 2316335 h 2316335"/>
                <a:gd name="connsiteX4" fmla="*/ 0 w 5930900"/>
                <a:gd name="connsiteY4" fmla="*/ 2316335 h 2316335"/>
                <a:gd name="connsiteX0" fmla="*/ 1 w 5736813"/>
                <a:gd name="connsiteY0" fmla="*/ 2316313 h 2316335"/>
                <a:gd name="connsiteX1" fmla="*/ 299952 w 5736813"/>
                <a:gd name="connsiteY1" fmla="*/ 23225 h 2316335"/>
                <a:gd name="connsiteX2" fmla="*/ 5736813 w 5736813"/>
                <a:gd name="connsiteY2" fmla="*/ 0 h 2316335"/>
                <a:gd name="connsiteX3" fmla="*/ 5736813 w 5736813"/>
                <a:gd name="connsiteY3" fmla="*/ 2316335 h 2316335"/>
                <a:gd name="connsiteX4" fmla="*/ 1 w 5736813"/>
                <a:gd name="connsiteY4" fmla="*/ 2316313 h 231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6813" h="2316335">
                  <a:moveTo>
                    <a:pt x="1" y="2316313"/>
                  </a:moveTo>
                  <a:lnTo>
                    <a:pt x="299952" y="23225"/>
                  </a:lnTo>
                  <a:lnTo>
                    <a:pt x="5736813" y="0"/>
                  </a:lnTo>
                  <a:lnTo>
                    <a:pt x="5736813" y="2316335"/>
                  </a:lnTo>
                  <a:lnTo>
                    <a:pt x="1" y="2316313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0">
                  <a:schemeClr val="tx1">
                    <a:alpha val="30000"/>
                  </a:schemeClr>
                </a:gs>
              </a:gsLst>
              <a:lin ang="18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77">
                <a:defRPr/>
              </a:pPr>
              <a:endParaRPr lang="zh-CN" altLang="en-US" sz="1051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  <p:grpSp>
          <p:nvGrpSpPr>
            <p:cNvPr id="76" name="组合 19">
              <a:extLst>
                <a:ext uri="{FF2B5EF4-FFF2-40B4-BE49-F238E27FC236}">
                  <a16:creationId xmlns:a16="http://schemas.microsoft.com/office/drawing/2014/main" id="{DBD66B51-871F-B558-BF43-AEA8C278BC6A}"/>
                </a:ext>
              </a:extLst>
            </p:cNvPr>
            <p:cNvGrpSpPr/>
            <p:nvPr/>
          </p:nvGrpSpPr>
          <p:grpSpPr>
            <a:xfrm>
              <a:off x="6621202" y="2075543"/>
              <a:ext cx="1190041" cy="1190039"/>
              <a:chOff x="5663488" y="1758240"/>
              <a:chExt cx="1874676" cy="1874672"/>
            </a:xfrm>
          </p:grpSpPr>
          <p:sp>
            <p:nvSpPr>
              <p:cNvPr id="77" name="圆角矩形 7">
                <a:extLst>
                  <a:ext uri="{FF2B5EF4-FFF2-40B4-BE49-F238E27FC236}">
                    <a16:creationId xmlns:a16="http://schemas.microsoft.com/office/drawing/2014/main" id="{FD4218ED-6E56-61C9-63AF-841926091C29}"/>
                  </a:ext>
                </a:extLst>
              </p:cNvPr>
              <p:cNvSpPr/>
              <p:nvPr/>
            </p:nvSpPr>
            <p:spPr>
              <a:xfrm>
                <a:off x="5663488" y="1758240"/>
                <a:ext cx="1874676" cy="187467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77">
                  <a:defRPr/>
                </a:pPr>
                <a:endParaRPr lang="zh-CN" altLang="en-US" sz="1200"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78" name="椭圆 21">
                <a:extLst>
                  <a:ext uri="{FF2B5EF4-FFF2-40B4-BE49-F238E27FC236}">
                    <a16:creationId xmlns:a16="http://schemas.microsoft.com/office/drawing/2014/main" id="{4DA8FD58-D176-5411-3C1E-71898CF16139}"/>
                  </a:ext>
                </a:extLst>
              </p:cNvPr>
              <p:cNvSpPr/>
              <p:nvPr/>
            </p:nvSpPr>
            <p:spPr>
              <a:xfrm>
                <a:off x="5928512" y="2023262"/>
                <a:ext cx="1344632" cy="1344632"/>
              </a:xfrm>
              <a:prstGeom prst="ellipse">
                <a:avLst/>
              </a:prstGeom>
              <a:gradFill>
                <a:gsLst>
                  <a:gs pos="15000">
                    <a:srgbClr val="F1974D"/>
                  </a:gs>
                  <a:gs pos="100000">
                    <a:schemeClr val="accent2"/>
                  </a:gs>
                </a:gsLst>
                <a:path path="circle">
                  <a:fillToRect l="100000" t="100000"/>
                </a:path>
              </a:gradFill>
              <a:ln w="76200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77">
                  <a:defRPr/>
                </a:pPr>
                <a:endParaRPr lang="zh-CN" altLang="en-US" sz="4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+mn-ea"/>
                  <a:sym typeface="+mn-lt"/>
                </a:endParaRPr>
              </a:p>
            </p:txBody>
          </p:sp>
          <p:sp>
            <p:nvSpPr>
              <p:cNvPr id="79" name="圆角矩形 7">
                <a:extLst>
                  <a:ext uri="{FF2B5EF4-FFF2-40B4-BE49-F238E27FC236}">
                    <a16:creationId xmlns:a16="http://schemas.microsoft.com/office/drawing/2014/main" id="{D7970AF8-78CE-245F-0639-AD8F2C45F996}"/>
                  </a:ext>
                </a:extLst>
              </p:cNvPr>
              <p:cNvSpPr/>
              <p:nvPr/>
            </p:nvSpPr>
            <p:spPr>
              <a:xfrm>
                <a:off x="6267543" y="2362294"/>
                <a:ext cx="666567" cy="666564"/>
              </a:xfrm>
              <a:custGeom>
                <a:avLst/>
                <a:gdLst>
                  <a:gd name="connsiteX0" fmla="*/ 199497 w 331788"/>
                  <a:gd name="connsiteY0" fmla="*/ 265112 h 331787"/>
                  <a:gd name="connsiteX1" fmla="*/ 209798 w 331788"/>
                  <a:gd name="connsiteY1" fmla="*/ 279217 h 331787"/>
                  <a:gd name="connsiteX2" fmla="*/ 238126 w 331788"/>
                  <a:gd name="connsiteY2" fmla="*/ 315118 h 331787"/>
                  <a:gd name="connsiteX3" fmla="*/ 166018 w 331788"/>
                  <a:gd name="connsiteY3" fmla="*/ 331787 h 331787"/>
                  <a:gd name="connsiteX4" fmla="*/ 122238 w 331788"/>
                  <a:gd name="connsiteY4" fmla="*/ 325376 h 331787"/>
                  <a:gd name="connsiteX5" fmla="*/ 199497 w 331788"/>
                  <a:gd name="connsiteY5" fmla="*/ 265112 h 331787"/>
                  <a:gd name="connsiteX6" fmla="*/ 190500 w 331788"/>
                  <a:gd name="connsiteY6" fmla="*/ 228600 h 331787"/>
                  <a:gd name="connsiteX7" fmla="*/ 201490 w 331788"/>
                  <a:gd name="connsiteY7" fmla="*/ 228600 h 331787"/>
                  <a:gd name="connsiteX8" fmla="*/ 206375 w 331788"/>
                  <a:gd name="connsiteY8" fmla="*/ 236394 h 331787"/>
                  <a:gd name="connsiteX9" fmla="*/ 200269 w 331788"/>
                  <a:gd name="connsiteY9" fmla="*/ 242888 h 331787"/>
                  <a:gd name="connsiteX10" fmla="*/ 190500 w 331788"/>
                  <a:gd name="connsiteY10" fmla="*/ 228600 h 331787"/>
                  <a:gd name="connsiteX11" fmla="*/ 146452 w 331788"/>
                  <a:gd name="connsiteY11" fmla="*/ 228600 h 331787"/>
                  <a:gd name="connsiteX12" fmla="*/ 164590 w 331788"/>
                  <a:gd name="connsiteY12" fmla="*/ 229897 h 331787"/>
                  <a:gd name="connsiteX13" fmla="*/ 165885 w 331788"/>
                  <a:gd name="connsiteY13" fmla="*/ 229897 h 331787"/>
                  <a:gd name="connsiteX14" fmla="*/ 173659 w 331788"/>
                  <a:gd name="connsiteY14" fmla="*/ 229897 h 331787"/>
                  <a:gd name="connsiteX15" fmla="*/ 190501 w 331788"/>
                  <a:gd name="connsiteY15" fmla="*/ 253240 h 331787"/>
                  <a:gd name="connsiteX16" fmla="*/ 103699 w 331788"/>
                  <a:gd name="connsiteY16" fmla="*/ 320675 h 331787"/>
                  <a:gd name="connsiteX17" fmla="*/ 77788 w 331788"/>
                  <a:gd name="connsiteY17" fmla="*/ 306410 h 331787"/>
                  <a:gd name="connsiteX18" fmla="*/ 112768 w 331788"/>
                  <a:gd name="connsiteY18" fmla="*/ 244162 h 331787"/>
                  <a:gd name="connsiteX19" fmla="*/ 121837 w 331788"/>
                  <a:gd name="connsiteY19" fmla="*/ 245459 h 331787"/>
                  <a:gd name="connsiteX20" fmla="*/ 146452 w 331788"/>
                  <a:gd name="connsiteY20" fmla="*/ 228600 h 331787"/>
                  <a:gd name="connsiteX21" fmla="*/ 323851 w 331788"/>
                  <a:gd name="connsiteY21" fmla="*/ 217487 h 331787"/>
                  <a:gd name="connsiteX22" fmla="*/ 249631 w 331788"/>
                  <a:gd name="connsiteY22" fmla="*/ 307975 h 331787"/>
                  <a:gd name="connsiteX23" fmla="*/ 207963 w 331788"/>
                  <a:gd name="connsiteY23" fmla="*/ 253682 h 331787"/>
                  <a:gd name="connsiteX24" fmla="*/ 218380 w 331788"/>
                  <a:gd name="connsiteY24" fmla="*/ 243341 h 331787"/>
                  <a:gd name="connsiteX25" fmla="*/ 227495 w 331788"/>
                  <a:gd name="connsiteY25" fmla="*/ 244634 h 331787"/>
                  <a:gd name="connsiteX26" fmla="*/ 253537 w 331788"/>
                  <a:gd name="connsiteY26" fmla="*/ 225243 h 331787"/>
                  <a:gd name="connsiteX27" fmla="*/ 323851 w 331788"/>
                  <a:gd name="connsiteY27" fmla="*/ 217487 h 331787"/>
                  <a:gd name="connsiteX28" fmla="*/ 3175 w 331788"/>
                  <a:gd name="connsiteY28" fmla="*/ 196850 h 331787"/>
                  <a:gd name="connsiteX29" fmla="*/ 93642 w 331788"/>
                  <a:gd name="connsiteY29" fmla="*/ 222902 h 331787"/>
                  <a:gd name="connsiteX30" fmla="*/ 100013 w 331788"/>
                  <a:gd name="connsiteY30" fmla="*/ 235927 h 331787"/>
                  <a:gd name="connsiteX31" fmla="*/ 65610 w 331788"/>
                  <a:gd name="connsiteY31" fmla="*/ 298450 h 331787"/>
                  <a:gd name="connsiteX32" fmla="*/ 3175 w 331788"/>
                  <a:gd name="connsiteY32" fmla="*/ 196850 h 331787"/>
                  <a:gd name="connsiteX33" fmla="*/ 146517 w 331788"/>
                  <a:gd name="connsiteY33" fmla="*/ 192087 h 331787"/>
                  <a:gd name="connsiteX34" fmla="*/ 163513 w 331788"/>
                  <a:gd name="connsiteY34" fmla="*/ 215900 h 331787"/>
                  <a:gd name="connsiteX35" fmla="*/ 147825 w 331788"/>
                  <a:gd name="connsiteY35" fmla="*/ 214577 h 331787"/>
                  <a:gd name="connsiteX36" fmla="*/ 141288 w 331788"/>
                  <a:gd name="connsiteY36" fmla="*/ 200025 h 331787"/>
                  <a:gd name="connsiteX37" fmla="*/ 146517 w 331788"/>
                  <a:gd name="connsiteY37" fmla="*/ 192087 h 331787"/>
                  <a:gd name="connsiteX38" fmla="*/ 277877 w 331788"/>
                  <a:gd name="connsiteY38" fmla="*/ 160337 h 331787"/>
                  <a:gd name="connsiteX39" fmla="*/ 314326 w 331788"/>
                  <a:gd name="connsiteY39" fmla="*/ 204624 h 331787"/>
                  <a:gd name="connsiteX40" fmla="*/ 253143 w 331788"/>
                  <a:gd name="connsiteY40" fmla="*/ 211137 h 331787"/>
                  <a:gd name="connsiteX41" fmla="*/ 249238 w 331788"/>
                  <a:gd name="connsiteY41" fmla="*/ 203322 h 331787"/>
                  <a:gd name="connsiteX42" fmla="*/ 277877 w 331788"/>
                  <a:gd name="connsiteY42" fmla="*/ 160337 h 331787"/>
                  <a:gd name="connsiteX43" fmla="*/ 290513 w 331788"/>
                  <a:gd name="connsiteY43" fmla="*/ 153987 h 331787"/>
                  <a:gd name="connsiteX44" fmla="*/ 331788 w 331788"/>
                  <a:gd name="connsiteY44" fmla="*/ 167061 h 331787"/>
                  <a:gd name="connsiteX45" fmla="*/ 329125 w 331788"/>
                  <a:gd name="connsiteY45" fmla="*/ 198437 h 331787"/>
                  <a:gd name="connsiteX46" fmla="*/ 290513 w 331788"/>
                  <a:gd name="connsiteY46" fmla="*/ 153987 h 331787"/>
                  <a:gd name="connsiteX47" fmla="*/ 113341 w 331788"/>
                  <a:gd name="connsiteY47" fmla="*/ 139700 h 331787"/>
                  <a:gd name="connsiteX48" fmla="*/ 130085 w 331788"/>
                  <a:gd name="connsiteY48" fmla="*/ 169324 h 331787"/>
                  <a:gd name="connsiteX49" fmla="*/ 136525 w 331788"/>
                  <a:gd name="connsiteY49" fmla="*/ 178340 h 331787"/>
                  <a:gd name="connsiteX50" fmla="*/ 128797 w 331788"/>
                  <a:gd name="connsiteY50" fmla="*/ 191219 h 331787"/>
                  <a:gd name="connsiteX51" fmla="*/ 121069 w 331788"/>
                  <a:gd name="connsiteY51" fmla="*/ 189932 h 331787"/>
                  <a:gd name="connsiteX52" fmla="*/ 95310 w 331788"/>
                  <a:gd name="connsiteY52" fmla="*/ 207963 h 331787"/>
                  <a:gd name="connsiteX53" fmla="*/ 1288 w 331788"/>
                  <a:gd name="connsiteY53" fmla="*/ 179628 h 331787"/>
                  <a:gd name="connsiteX54" fmla="*/ 0 w 331788"/>
                  <a:gd name="connsiteY54" fmla="*/ 165460 h 331787"/>
                  <a:gd name="connsiteX55" fmla="*/ 1288 w 331788"/>
                  <a:gd name="connsiteY55" fmla="*/ 151292 h 331787"/>
                  <a:gd name="connsiteX56" fmla="*/ 113341 w 331788"/>
                  <a:gd name="connsiteY56" fmla="*/ 139700 h 331787"/>
                  <a:gd name="connsiteX57" fmla="*/ 186315 w 331788"/>
                  <a:gd name="connsiteY57" fmla="*/ 138112 h 331787"/>
                  <a:gd name="connsiteX58" fmla="*/ 268288 w 331788"/>
                  <a:gd name="connsiteY58" fmla="*/ 149780 h 331787"/>
                  <a:gd name="connsiteX59" fmla="*/ 238829 w 331788"/>
                  <a:gd name="connsiteY59" fmla="*/ 193860 h 331787"/>
                  <a:gd name="connsiteX60" fmla="*/ 227301 w 331788"/>
                  <a:gd name="connsiteY60" fmla="*/ 191267 h 331787"/>
                  <a:gd name="connsiteX61" fmla="*/ 200404 w 331788"/>
                  <a:gd name="connsiteY61" fmla="*/ 214604 h 331787"/>
                  <a:gd name="connsiteX62" fmla="*/ 179911 w 331788"/>
                  <a:gd name="connsiteY62" fmla="*/ 215900 h 331787"/>
                  <a:gd name="connsiteX63" fmla="*/ 155575 w 331788"/>
                  <a:gd name="connsiteY63" fmla="*/ 179599 h 331787"/>
                  <a:gd name="connsiteX64" fmla="*/ 173507 w 331788"/>
                  <a:gd name="connsiteY64" fmla="*/ 154966 h 331787"/>
                  <a:gd name="connsiteX65" fmla="*/ 186315 w 331788"/>
                  <a:gd name="connsiteY65" fmla="*/ 138112 h 331787"/>
                  <a:gd name="connsiteX66" fmla="*/ 168276 w 331788"/>
                  <a:gd name="connsiteY66" fmla="*/ 138112 h 331787"/>
                  <a:gd name="connsiteX67" fmla="*/ 161661 w 331788"/>
                  <a:gd name="connsiteY67" fmla="*/ 145566 h 331787"/>
                  <a:gd name="connsiteX68" fmla="*/ 145786 w 331788"/>
                  <a:gd name="connsiteY68" fmla="*/ 166687 h 331787"/>
                  <a:gd name="connsiteX69" fmla="*/ 141817 w 331788"/>
                  <a:gd name="connsiteY69" fmla="*/ 161718 h 331787"/>
                  <a:gd name="connsiteX70" fmla="*/ 128588 w 331788"/>
                  <a:gd name="connsiteY70" fmla="*/ 139354 h 331787"/>
                  <a:gd name="connsiteX71" fmla="*/ 168276 w 331788"/>
                  <a:gd name="connsiteY71" fmla="*/ 138112 h 331787"/>
                  <a:gd name="connsiteX72" fmla="*/ 220028 w 331788"/>
                  <a:gd name="connsiteY72" fmla="*/ 103187 h 331787"/>
                  <a:gd name="connsiteX73" fmla="*/ 232728 w 331788"/>
                  <a:gd name="connsiteY73" fmla="*/ 105784 h 331787"/>
                  <a:gd name="connsiteX74" fmla="*/ 237808 w 331788"/>
                  <a:gd name="connsiteY74" fmla="*/ 105784 h 331787"/>
                  <a:gd name="connsiteX75" fmla="*/ 246698 w 331788"/>
                  <a:gd name="connsiteY75" fmla="*/ 118773 h 331787"/>
                  <a:gd name="connsiteX76" fmla="*/ 255588 w 331788"/>
                  <a:gd name="connsiteY76" fmla="*/ 131762 h 331787"/>
                  <a:gd name="connsiteX77" fmla="*/ 198438 w 331788"/>
                  <a:gd name="connsiteY77" fmla="*/ 125267 h 331787"/>
                  <a:gd name="connsiteX78" fmla="*/ 220028 w 331788"/>
                  <a:gd name="connsiteY78" fmla="*/ 103187 h 331787"/>
                  <a:gd name="connsiteX79" fmla="*/ 317236 w 331788"/>
                  <a:gd name="connsiteY79" fmla="*/ 98425 h 331787"/>
                  <a:gd name="connsiteX80" fmla="*/ 331788 w 331788"/>
                  <a:gd name="connsiteY80" fmla="*/ 152400 h 331787"/>
                  <a:gd name="connsiteX81" fmla="*/ 292100 w 331788"/>
                  <a:gd name="connsiteY81" fmla="*/ 140552 h 331787"/>
                  <a:gd name="connsiteX82" fmla="*/ 317236 w 331788"/>
                  <a:gd name="connsiteY82" fmla="*/ 98425 h 331787"/>
                  <a:gd name="connsiteX83" fmla="*/ 286068 w 331788"/>
                  <a:gd name="connsiteY83" fmla="*/ 52387 h 331787"/>
                  <a:gd name="connsiteX84" fmla="*/ 309563 w 331788"/>
                  <a:gd name="connsiteY84" fmla="*/ 84748 h 331787"/>
                  <a:gd name="connsiteX85" fmla="*/ 278236 w 331788"/>
                  <a:gd name="connsiteY85" fmla="*/ 136525 h 331787"/>
                  <a:gd name="connsiteX86" fmla="*/ 276931 w 331788"/>
                  <a:gd name="connsiteY86" fmla="*/ 136525 h 331787"/>
                  <a:gd name="connsiteX87" fmla="*/ 258657 w 331788"/>
                  <a:gd name="connsiteY87" fmla="*/ 110636 h 331787"/>
                  <a:gd name="connsiteX88" fmla="*/ 250825 w 331788"/>
                  <a:gd name="connsiteY88" fmla="*/ 98986 h 331787"/>
                  <a:gd name="connsiteX89" fmla="*/ 259962 w 331788"/>
                  <a:gd name="connsiteY89" fmla="*/ 78275 h 331787"/>
                  <a:gd name="connsiteX90" fmla="*/ 258657 w 331788"/>
                  <a:gd name="connsiteY90" fmla="*/ 70509 h 331787"/>
                  <a:gd name="connsiteX91" fmla="*/ 286068 w 331788"/>
                  <a:gd name="connsiteY91" fmla="*/ 52387 h 331787"/>
                  <a:gd name="connsiteX92" fmla="*/ 73025 w 331788"/>
                  <a:gd name="connsiteY92" fmla="*/ 28575 h 331787"/>
                  <a:gd name="connsiteX93" fmla="*/ 107950 w 331788"/>
                  <a:gd name="connsiteY93" fmla="*/ 126377 h 331787"/>
                  <a:gd name="connsiteX94" fmla="*/ 3175 w 331788"/>
                  <a:gd name="connsiteY94" fmla="*/ 138113 h 331787"/>
                  <a:gd name="connsiteX95" fmla="*/ 73025 w 331788"/>
                  <a:gd name="connsiteY95" fmla="*/ 28575 h 331787"/>
                  <a:gd name="connsiteX96" fmla="*/ 203200 w 331788"/>
                  <a:gd name="connsiteY96" fmla="*/ 4762 h 331787"/>
                  <a:gd name="connsiteX97" fmla="*/ 274638 w 331788"/>
                  <a:gd name="connsiteY97" fmla="*/ 41817 h 331787"/>
                  <a:gd name="connsiteX98" fmla="*/ 251258 w 331788"/>
                  <a:gd name="connsiteY98" fmla="*/ 57150 h 331787"/>
                  <a:gd name="connsiteX99" fmla="*/ 233074 w 331788"/>
                  <a:gd name="connsiteY99" fmla="*/ 50761 h 331787"/>
                  <a:gd name="connsiteX100" fmla="*/ 225281 w 331788"/>
                  <a:gd name="connsiteY100" fmla="*/ 52039 h 331787"/>
                  <a:gd name="connsiteX101" fmla="*/ 203200 w 331788"/>
                  <a:gd name="connsiteY101" fmla="*/ 4762 h 331787"/>
                  <a:gd name="connsiteX102" fmla="*/ 165260 w 331788"/>
                  <a:gd name="connsiteY102" fmla="*/ 0 h 331787"/>
                  <a:gd name="connsiteX103" fmla="*/ 185786 w 331788"/>
                  <a:gd name="connsiteY103" fmla="*/ 1290 h 331787"/>
                  <a:gd name="connsiteX104" fmla="*/ 212725 w 331788"/>
                  <a:gd name="connsiteY104" fmla="*/ 59333 h 331787"/>
                  <a:gd name="connsiteX105" fmla="*/ 205028 w 331788"/>
                  <a:gd name="connsiteY105" fmla="*/ 77390 h 331787"/>
                  <a:gd name="connsiteX106" fmla="*/ 208876 w 331788"/>
                  <a:gd name="connsiteY106" fmla="*/ 91579 h 331787"/>
                  <a:gd name="connsiteX107" fmla="*/ 179371 w 331788"/>
                  <a:gd name="connsiteY107" fmla="*/ 122535 h 331787"/>
                  <a:gd name="connsiteX108" fmla="*/ 176806 w 331788"/>
                  <a:gd name="connsiteY108" fmla="*/ 122535 h 331787"/>
                  <a:gd name="connsiteX109" fmla="*/ 122927 w 331788"/>
                  <a:gd name="connsiteY109" fmla="*/ 123825 h 331787"/>
                  <a:gd name="connsiteX110" fmla="*/ 85725 w 331788"/>
                  <a:gd name="connsiteY110" fmla="*/ 20637 h 331787"/>
                  <a:gd name="connsiteX111" fmla="*/ 165260 w 331788"/>
                  <a:gd name="connsiteY111" fmla="*/ 0 h 331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331788" h="331787">
                    <a:moveTo>
                      <a:pt x="199497" y="265112"/>
                    </a:moveTo>
                    <a:cubicBezTo>
                      <a:pt x="203360" y="270241"/>
                      <a:pt x="205935" y="274088"/>
                      <a:pt x="209798" y="279217"/>
                    </a:cubicBezTo>
                    <a:cubicBezTo>
                      <a:pt x="222674" y="295885"/>
                      <a:pt x="231688" y="307425"/>
                      <a:pt x="238126" y="315118"/>
                    </a:cubicBezTo>
                    <a:cubicBezTo>
                      <a:pt x="216236" y="325376"/>
                      <a:pt x="191771" y="331787"/>
                      <a:pt x="166018" y="331787"/>
                    </a:cubicBezTo>
                    <a:cubicBezTo>
                      <a:pt x="150566" y="331787"/>
                      <a:pt x="136402" y="329223"/>
                      <a:pt x="122238" y="325376"/>
                    </a:cubicBezTo>
                    <a:cubicBezTo>
                      <a:pt x="141553" y="312554"/>
                      <a:pt x="169881" y="293321"/>
                      <a:pt x="199497" y="265112"/>
                    </a:cubicBezTo>
                    <a:close/>
                    <a:moveTo>
                      <a:pt x="190500" y="228600"/>
                    </a:moveTo>
                    <a:cubicBezTo>
                      <a:pt x="194163" y="228600"/>
                      <a:pt x="197827" y="228600"/>
                      <a:pt x="201490" y="228600"/>
                    </a:cubicBezTo>
                    <a:cubicBezTo>
                      <a:pt x="202712" y="231198"/>
                      <a:pt x="203933" y="233796"/>
                      <a:pt x="206375" y="236394"/>
                    </a:cubicBezTo>
                    <a:cubicBezTo>
                      <a:pt x="203933" y="237693"/>
                      <a:pt x="201490" y="240290"/>
                      <a:pt x="200269" y="242888"/>
                    </a:cubicBezTo>
                    <a:cubicBezTo>
                      <a:pt x="196606" y="237693"/>
                      <a:pt x="194163" y="233796"/>
                      <a:pt x="190500" y="228600"/>
                    </a:cubicBezTo>
                    <a:close/>
                    <a:moveTo>
                      <a:pt x="146452" y="228600"/>
                    </a:moveTo>
                    <a:cubicBezTo>
                      <a:pt x="152930" y="228600"/>
                      <a:pt x="159408" y="229897"/>
                      <a:pt x="164590" y="229897"/>
                    </a:cubicBezTo>
                    <a:cubicBezTo>
                      <a:pt x="164590" y="229897"/>
                      <a:pt x="164590" y="229897"/>
                      <a:pt x="165885" y="229897"/>
                    </a:cubicBezTo>
                    <a:cubicBezTo>
                      <a:pt x="168477" y="229897"/>
                      <a:pt x="171068" y="229897"/>
                      <a:pt x="173659" y="229897"/>
                    </a:cubicBezTo>
                    <a:cubicBezTo>
                      <a:pt x="178841" y="237678"/>
                      <a:pt x="185319" y="245459"/>
                      <a:pt x="190501" y="253240"/>
                    </a:cubicBezTo>
                    <a:cubicBezTo>
                      <a:pt x="156817" y="286958"/>
                      <a:pt x="123132" y="309004"/>
                      <a:pt x="103699" y="320675"/>
                    </a:cubicBezTo>
                    <a:cubicBezTo>
                      <a:pt x="94630" y="316785"/>
                      <a:pt x="85561" y="311597"/>
                      <a:pt x="77788" y="306410"/>
                    </a:cubicBezTo>
                    <a:cubicBezTo>
                      <a:pt x="84266" y="293442"/>
                      <a:pt x="97221" y="271396"/>
                      <a:pt x="112768" y="244162"/>
                    </a:cubicBezTo>
                    <a:cubicBezTo>
                      <a:pt x="115359" y="245459"/>
                      <a:pt x="117950" y="245459"/>
                      <a:pt x="121837" y="245459"/>
                    </a:cubicBezTo>
                    <a:cubicBezTo>
                      <a:pt x="132201" y="245459"/>
                      <a:pt x="142566" y="238975"/>
                      <a:pt x="146452" y="228600"/>
                    </a:cubicBezTo>
                    <a:close/>
                    <a:moveTo>
                      <a:pt x="323851" y="217487"/>
                    </a:moveTo>
                    <a:cubicBezTo>
                      <a:pt x="310830" y="256268"/>
                      <a:pt x="284788" y="287292"/>
                      <a:pt x="249631" y="307975"/>
                    </a:cubicBezTo>
                    <a:cubicBezTo>
                      <a:pt x="240516" y="295048"/>
                      <a:pt x="224890" y="275658"/>
                      <a:pt x="207963" y="253682"/>
                    </a:cubicBezTo>
                    <a:cubicBezTo>
                      <a:pt x="211869" y="249804"/>
                      <a:pt x="214474" y="247219"/>
                      <a:pt x="218380" y="243341"/>
                    </a:cubicBezTo>
                    <a:cubicBezTo>
                      <a:pt x="220984" y="244634"/>
                      <a:pt x="223588" y="244634"/>
                      <a:pt x="227495" y="244634"/>
                    </a:cubicBezTo>
                    <a:cubicBezTo>
                      <a:pt x="239214" y="244634"/>
                      <a:pt x="250933" y="236878"/>
                      <a:pt x="253537" y="225243"/>
                    </a:cubicBezTo>
                    <a:cubicBezTo>
                      <a:pt x="280881" y="222658"/>
                      <a:pt x="304319" y="220073"/>
                      <a:pt x="323851" y="217487"/>
                    </a:cubicBezTo>
                    <a:close/>
                    <a:moveTo>
                      <a:pt x="3175" y="196850"/>
                    </a:moveTo>
                    <a:cubicBezTo>
                      <a:pt x="23562" y="204666"/>
                      <a:pt x="55417" y="215086"/>
                      <a:pt x="93642" y="222902"/>
                    </a:cubicBezTo>
                    <a:cubicBezTo>
                      <a:pt x="94916" y="228112"/>
                      <a:pt x="96190" y="232019"/>
                      <a:pt x="100013" y="235927"/>
                    </a:cubicBezTo>
                    <a:cubicBezTo>
                      <a:pt x="84723" y="261978"/>
                      <a:pt x="71981" y="284122"/>
                      <a:pt x="65610" y="298450"/>
                    </a:cubicBezTo>
                    <a:cubicBezTo>
                      <a:pt x="33755" y="273702"/>
                      <a:pt x="10820" y="237230"/>
                      <a:pt x="3175" y="196850"/>
                    </a:cubicBezTo>
                    <a:close/>
                    <a:moveTo>
                      <a:pt x="146517" y="192087"/>
                    </a:moveTo>
                    <a:cubicBezTo>
                      <a:pt x="151747" y="200025"/>
                      <a:pt x="156976" y="207963"/>
                      <a:pt x="163513" y="215900"/>
                    </a:cubicBezTo>
                    <a:cubicBezTo>
                      <a:pt x="158284" y="215900"/>
                      <a:pt x="153054" y="214577"/>
                      <a:pt x="147825" y="214577"/>
                    </a:cubicBezTo>
                    <a:cubicBezTo>
                      <a:pt x="147825" y="209286"/>
                      <a:pt x="145210" y="203994"/>
                      <a:pt x="141288" y="200025"/>
                    </a:cubicBezTo>
                    <a:cubicBezTo>
                      <a:pt x="142595" y="197379"/>
                      <a:pt x="145210" y="194733"/>
                      <a:pt x="146517" y="192087"/>
                    </a:cubicBezTo>
                    <a:close/>
                    <a:moveTo>
                      <a:pt x="277877" y="160337"/>
                    </a:moveTo>
                    <a:cubicBezTo>
                      <a:pt x="290894" y="175968"/>
                      <a:pt x="302610" y="190296"/>
                      <a:pt x="314326" y="204624"/>
                    </a:cubicBezTo>
                    <a:cubicBezTo>
                      <a:pt x="297403" y="205927"/>
                      <a:pt x="276575" y="208532"/>
                      <a:pt x="253143" y="211137"/>
                    </a:cubicBezTo>
                    <a:cubicBezTo>
                      <a:pt x="251842" y="207230"/>
                      <a:pt x="251842" y="204624"/>
                      <a:pt x="249238" y="203322"/>
                    </a:cubicBezTo>
                    <a:cubicBezTo>
                      <a:pt x="259652" y="188994"/>
                      <a:pt x="270066" y="174665"/>
                      <a:pt x="277877" y="160337"/>
                    </a:cubicBezTo>
                    <a:close/>
                    <a:moveTo>
                      <a:pt x="290513" y="153987"/>
                    </a:moveTo>
                    <a:cubicBezTo>
                      <a:pt x="306490" y="159216"/>
                      <a:pt x="321136" y="163139"/>
                      <a:pt x="331788" y="167061"/>
                    </a:cubicBezTo>
                    <a:cubicBezTo>
                      <a:pt x="331788" y="178827"/>
                      <a:pt x="330457" y="187978"/>
                      <a:pt x="329125" y="198437"/>
                    </a:cubicBezTo>
                    <a:cubicBezTo>
                      <a:pt x="317142" y="185364"/>
                      <a:pt x="303828" y="170983"/>
                      <a:pt x="290513" y="153987"/>
                    </a:cubicBezTo>
                    <a:close/>
                    <a:moveTo>
                      <a:pt x="113341" y="139700"/>
                    </a:moveTo>
                    <a:cubicBezTo>
                      <a:pt x="118493" y="150004"/>
                      <a:pt x="124933" y="160307"/>
                      <a:pt x="130085" y="169324"/>
                    </a:cubicBezTo>
                    <a:cubicBezTo>
                      <a:pt x="132661" y="171900"/>
                      <a:pt x="135237" y="175764"/>
                      <a:pt x="136525" y="178340"/>
                    </a:cubicBezTo>
                    <a:cubicBezTo>
                      <a:pt x="133949" y="183492"/>
                      <a:pt x="131373" y="187356"/>
                      <a:pt x="128797" y="191219"/>
                    </a:cubicBezTo>
                    <a:cubicBezTo>
                      <a:pt x="126221" y="189932"/>
                      <a:pt x="123645" y="189932"/>
                      <a:pt x="121069" y="189932"/>
                    </a:cubicBezTo>
                    <a:cubicBezTo>
                      <a:pt x="109478" y="189932"/>
                      <a:pt x="99174" y="197659"/>
                      <a:pt x="95310" y="207963"/>
                    </a:cubicBezTo>
                    <a:cubicBezTo>
                      <a:pt x="52807" y="200235"/>
                      <a:pt x="19320" y="187356"/>
                      <a:pt x="1288" y="179628"/>
                    </a:cubicBezTo>
                    <a:cubicBezTo>
                      <a:pt x="0" y="174476"/>
                      <a:pt x="0" y="170612"/>
                      <a:pt x="0" y="165460"/>
                    </a:cubicBezTo>
                    <a:cubicBezTo>
                      <a:pt x="0" y="160307"/>
                      <a:pt x="0" y="156444"/>
                      <a:pt x="1288" y="151292"/>
                    </a:cubicBezTo>
                    <a:cubicBezTo>
                      <a:pt x="23183" y="147428"/>
                      <a:pt x="64399" y="142276"/>
                      <a:pt x="113341" y="139700"/>
                    </a:cubicBezTo>
                    <a:close/>
                    <a:moveTo>
                      <a:pt x="186315" y="138112"/>
                    </a:moveTo>
                    <a:cubicBezTo>
                      <a:pt x="215774" y="139408"/>
                      <a:pt x="243952" y="143298"/>
                      <a:pt x="268288" y="149780"/>
                    </a:cubicBezTo>
                    <a:cubicBezTo>
                      <a:pt x="259322" y="164042"/>
                      <a:pt x="249076" y="179599"/>
                      <a:pt x="238829" y="193860"/>
                    </a:cubicBezTo>
                    <a:cubicBezTo>
                      <a:pt x="234986" y="192564"/>
                      <a:pt x="231144" y="191267"/>
                      <a:pt x="227301" y="191267"/>
                    </a:cubicBezTo>
                    <a:cubicBezTo>
                      <a:pt x="213212" y="191267"/>
                      <a:pt x="201685" y="201639"/>
                      <a:pt x="200404" y="214604"/>
                    </a:cubicBezTo>
                    <a:cubicBezTo>
                      <a:pt x="194000" y="214604"/>
                      <a:pt x="186315" y="214604"/>
                      <a:pt x="179911" y="215900"/>
                    </a:cubicBezTo>
                    <a:cubicBezTo>
                      <a:pt x="170945" y="202936"/>
                      <a:pt x="163260" y="191267"/>
                      <a:pt x="155575" y="179599"/>
                    </a:cubicBezTo>
                    <a:cubicBezTo>
                      <a:pt x="160698" y="171820"/>
                      <a:pt x="167102" y="162745"/>
                      <a:pt x="173507" y="154966"/>
                    </a:cubicBezTo>
                    <a:cubicBezTo>
                      <a:pt x="177349" y="148483"/>
                      <a:pt x="182472" y="143298"/>
                      <a:pt x="186315" y="138112"/>
                    </a:cubicBezTo>
                    <a:close/>
                    <a:moveTo>
                      <a:pt x="168276" y="138112"/>
                    </a:moveTo>
                    <a:cubicBezTo>
                      <a:pt x="165630" y="140597"/>
                      <a:pt x="164307" y="143081"/>
                      <a:pt x="161661" y="145566"/>
                    </a:cubicBezTo>
                    <a:cubicBezTo>
                      <a:pt x="156370" y="153020"/>
                      <a:pt x="151078" y="159232"/>
                      <a:pt x="145786" y="166687"/>
                    </a:cubicBezTo>
                    <a:cubicBezTo>
                      <a:pt x="144463" y="165445"/>
                      <a:pt x="143140" y="162960"/>
                      <a:pt x="141817" y="161718"/>
                    </a:cubicBezTo>
                    <a:cubicBezTo>
                      <a:pt x="137849" y="154263"/>
                      <a:pt x="132557" y="146808"/>
                      <a:pt x="128588" y="139354"/>
                    </a:cubicBezTo>
                    <a:cubicBezTo>
                      <a:pt x="141817" y="139354"/>
                      <a:pt x="155047" y="138112"/>
                      <a:pt x="168276" y="138112"/>
                    </a:cubicBezTo>
                    <a:close/>
                    <a:moveTo>
                      <a:pt x="220028" y="103187"/>
                    </a:moveTo>
                    <a:cubicBezTo>
                      <a:pt x="223838" y="104486"/>
                      <a:pt x="227648" y="105784"/>
                      <a:pt x="232728" y="105784"/>
                    </a:cubicBezTo>
                    <a:cubicBezTo>
                      <a:pt x="233998" y="105784"/>
                      <a:pt x="236538" y="105784"/>
                      <a:pt x="237808" y="105784"/>
                    </a:cubicBezTo>
                    <a:cubicBezTo>
                      <a:pt x="241618" y="109681"/>
                      <a:pt x="244158" y="114877"/>
                      <a:pt x="246698" y="118773"/>
                    </a:cubicBezTo>
                    <a:cubicBezTo>
                      <a:pt x="249238" y="122670"/>
                      <a:pt x="253048" y="127865"/>
                      <a:pt x="255588" y="131762"/>
                    </a:cubicBezTo>
                    <a:cubicBezTo>
                      <a:pt x="237808" y="129164"/>
                      <a:pt x="218758" y="126566"/>
                      <a:pt x="198438" y="125267"/>
                    </a:cubicBezTo>
                    <a:cubicBezTo>
                      <a:pt x="206058" y="117474"/>
                      <a:pt x="213678" y="109681"/>
                      <a:pt x="220028" y="103187"/>
                    </a:cubicBezTo>
                    <a:close/>
                    <a:moveTo>
                      <a:pt x="317236" y="98425"/>
                    </a:moveTo>
                    <a:cubicBezTo>
                      <a:pt x="325173" y="115539"/>
                      <a:pt x="329142" y="133969"/>
                      <a:pt x="331788" y="152400"/>
                    </a:cubicBezTo>
                    <a:cubicBezTo>
                      <a:pt x="319882" y="148450"/>
                      <a:pt x="306652" y="144501"/>
                      <a:pt x="292100" y="140552"/>
                    </a:cubicBezTo>
                    <a:cubicBezTo>
                      <a:pt x="301361" y="124754"/>
                      <a:pt x="310621" y="111589"/>
                      <a:pt x="317236" y="98425"/>
                    </a:cubicBezTo>
                    <a:close/>
                    <a:moveTo>
                      <a:pt x="286068" y="52387"/>
                    </a:moveTo>
                    <a:cubicBezTo>
                      <a:pt x="295205" y="61448"/>
                      <a:pt x="303037" y="71803"/>
                      <a:pt x="309563" y="84748"/>
                    </a:cubicBezTo>
                    <a:cubicBezTo>
                      <a:pt x="301731" y="98986"/>
                      <a:pt x="289984" y="117108"/>
                      <a:pt x="278236" y="136525"/>
                    </a:cubicBezTo>
                    <a:cubicBezTo>
                      <a:pt x="278236" y="136525"/>
                      <a:pt x="276931" y="136525"/>
                      <a:pt x="276931" y="136525"/>
                    </a:cubicBezTo>
                    <a:cubicBezTo>
                      <a:pt x="270404" y="127464"/>
                      <a:pt x="265183" y="119697"/>
                      <a:pt x="258657" y="110636"/>
                    </a:cubicBezTo>
                    <a:cubicBezTo>
                      <a:pt x="256046" y="106753"/>
                      <a:pt x="253436" y="102870"/>
                      <a:pt x="250825" y="98986"/>
                    </a:cubicBezTo>
                    <a:cubicBezTo>
                      <a:pt x="256046" y="93809"/>
                      <a:pt x="259962" y="86042"/>
                      <a:pt x="259962" y="78275"/>
                    </a:cubicBezTo>
                    <a:cubicBezTo>
                      <a:pt x="259962" y="75687"/>
                      <a:pt x="259962" y="73098"/>
                      <a:pt x="258657" y="70509"/>
                    </a:cubicBezTo>
                    <a:cubicBezTo>
                      <a:pt x="269099" y="62742"/>
                      <a:pt x="278236" y="57564"/>
                      <a:pt x="286068" y="52387"/>
                    </a:cubicBezTo>
                    <a:close/>
                    <a:moveTo>
                      <a:pt x="73025" y="28575"/>
                    </a:moveTo>
                    <a:cubicBezTo>
                      <a:pt x="79493" y="54655"/>
                      <a:pt x="92428" y="92472"/>
                      <a:pt x="107950" y="126377"/>
                    </a:cubicBezTo>
                    <a:cubicBezTo>
                      <a:pt x="63970" y="128985"/>
                      <a:pt x="25165" y="134201"/>
                      <a:pt x="3175" y="138113"/>
                    </a:cubicBezTo>
                    <a:cubicBezTo>
                      <a:pt x="10936" y="92472"/>
                      <a:pt x="36806" y="53351"/>
                      <a:pt x="73025" y="28575"/>
                    </a:cubicBezTo>
                    <a:close/>
                    <a:moveTo>
                      <a:pt x="203200" y="4762"/>
                    </a:moveTo>
                    <a:cubicBezTo>
                      <a:pt x="230476" y="11151"/>
                      <a:pt x="255155" y="23928"/>
                      <a:pt x="274638" y="41817"/>
                    </a:cubicBezTo>
                    <a:cubicBezTo>
                      <a:pt x="268144" y="45650"/>
                      <a:pt x="260350" y="52039"/>
                      <a:pt x="251258" y="57150"/>
                    </a:cubicBezTo>
                    <a:cubicBezTo>
                      <a:pt x="246063" y="53316"/>
                      <a:pt x="239568" y="50761"/>
                      <a:pt x="233074" y="50761"/>
                    </a:cubicBezTo>
                    <a:cubicBezTo>
                      <a:pt x="230476" y="50761"/>
                      <a:pt x="227879" y="50761"/>
                      <a:pt x="225281" y="52039"/>
                    </a:cubicBezTo>
                    <a:cubicBezTo>
                      <a:pt x="216189" y="34150"/>
                      <a:pt x="208395" y="17539"/>
                      <a:pt x="203200" y="4762"/>
                    </a:cubicBezTo>
                    <a:close/>
                    <a:moveTo>
                      <a:pt x="165260" y="0"/>
                    </a:moveTo>
                    <a:cubicBezTo>
                      <a:pt x="172957" y="0"/>
                      <a:pt x="179371" y="0"/>
                      <a:pt x="185786" y="1290"/>
                    </a:cubicBezTo>
                    <a:cubicBezTo>
                      <a:pt x="192200" y="15478"/>
                      <a:pt x="199897" y="36115"/>
                      <a:pt x="212725" y="59333"/>
                    </a:cubicBezTo>
                    <a:cubicBezTo>
                      <a:pt x="207594" y="63202"/>
                      <a:pt x="205028" y="69651"/>
                      <a:pt x="205028" y="77390"/>
                    </a:cubicBezTo>
                    <a:cubicBezTo>
                      <a:pt x="205028" y="82550"/>
                      <a:pt x="206311" y="87709"/>
                      <a:pt x="208876" y="91579"/>
                    </a:cubicBezTo>
                    <a:cubicBezTo>
                      <a:pt x="198614" y="100608"/>
                      <a:pt x="188351" y="110926"/>
                      <a:pt x="179371" y="122535"/>
                    </a:cubicBezTo>
                    <a:cubicBezTo>
                      <a:pt x="178089" y="122535"/>
                      <a:pt x="178089" y="122535"/>
                      <a:pt x="176806" y="122535"/>
                    </a:cubicBezTo>
                    <a:cubicBezTo>
                      <a:pt x="158846" y="122535"/>
                      <a:pt x="139604" y="123825"/>
                      <a:pt x="122927" y="123825"/>
                    </a:cubicBezTo>
                    <a:cubicBezTo>
                      <a:pt x="104967" y="87709"/>
                      <a:pt x="92139" y="45144"/>
                      <a:pt x="85725" y="20637"/>
                    </a:cubicBezTo>
                    <a:cubicBezTo>
                      <a:pt x="108816" y="7739"/>
                      <a:pt x="135755" y="0"/>
                      <a:pt x="16526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77">
                  <a:defRPr/>
                </a:pPr>
                <a:endParaRPr lang="zh-CN" altLang="en-US" sz="1200"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</p:grpSp>
      </p:grpSp>
      <p:sp>
        <p:nvSpPr>
          <p:cNvPr id="80" name="文本框 29">
            <a:extLst>
              <a:ext uri="{FF2B5EF4-FFF2-40B4-BE49-F238E27FC236}">
                <a16:creationId xmlns:a16="http://schemas.microsoft.com/office/drawing/2014/main" id="{A91BDEF8-072E-F63B-1909-33D905620165}"/>
              </a:ext>
            </a:extLst>
          </p:cNvPr>
          <p:cNvSpPr txBox="1"/>
          <p:nvPr/>
        </p:nvSpPr>
        <p:spPr>
          <a:xfrm>
            <a:off x="1662969" y="3679518"/>
            <a:ext cx="4131140" cy="630301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>
              <a:lnSpc>
                <a:spcPct val="114000"/>
              </a:lnSpc>
            </a:pPr>
            <a:r>
              <a:rPr lang="ru-RU" altLang="zh-CN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кто действительно работал во вредных условиях</a:t>
            </a:r>
            <a:endParaRPr lang="en-US" altLang="zh-CN" sz="16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1" name="文本框 30">
            <a:extLst>
              <a:ext uri="{FF2B5EF4-FFF2-40B4-BE49-F238E27FC236}">
                <a16:creationId xmlns:a16="http://schemas.microsoft.com/office/drawing/2014/main" id="{C423DE81-6404-D8C7-6A23-55A4259B4329}"/>
              </a:ext>
            </a:extLst>
          </p:cNvPr>
          <p:cNvSpPr txBox="1"/>
          <p:nvPr/>
        </p:nvSpPr>
        <p:spPr>
          <a:xfrm>
            <a:off x="7438418" y="3998531"/>
            <a:ext cx="4130189" cy="630301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>
              <a:lnSpc>
                <a:spcPct val="114000"/>
              </a:lnSpc>
            </a:pPr>
            <a:r>
              <a:rPr lang="ru-RU" altLang="zh-CN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что упростит процесс, ускорит выплаты и сделает его прозрачным</a:t>
            </a:r>
            <a:endParaRPr lang="en-US" altLang="zh-CN" sz="16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2" name="PA-文本框 6">
            <a:extLst>
              <a:ext uri="{FF2B5EF4-FFF2-40B4-BE49-F238E27FC236}">
                <a16:creationId xmlns:a16="http://schemas.microsoft.com/office/drawing/2014/main" id="{A45EF1D8-264C-CAE8-E90E-73766B21891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644972" y="2827126"/>
            <a:ext cx="43843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Будет расширен круг </a:t>
            </a:r>
          </a:p>
          <a:p>
            <a:r>
              <a:rPr lang="ru-RU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получателей специальной социальной выплаты (ССВ)</a:t>
            </a:r>
          </a:p>
        </p:txBody>
      </p:sp>
      <p:sp>
        <p:nvSpPr>
          <p:cNvPr id="83" name="PA-文本框 6">
            <a:extLst>
              <a:ext uri="{FF2B5EF4-FFF2-40B4-BE49-F238E27FC236}">
                <a16:creationId xmlns:a16="http://schemas.microsoft.com/office/drawing/2014/main" id="{8A0FE667-F627-FDE1-8747-D0A5131300B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438418" y="2827125"/>
            <a:ext cx="45916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Будет обеспечена полная </a:t>
            </a:r>
          </a:p>
          <a:p>
            <a:r>
              <a:rPr lang="ru-RU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цифровизация системы обязательного страхования от несчастных случаев (ОСНС)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AE444F9-39A0-1934-E33B-F6C7BCCB0458}"/>
              </a:ext>
            </a:extLst>
          </p:cNvPr>
          <p:cNvSpPr/>
          <p:nvPr/>
        </p:nvSpPr>
        <p:spPr>
          <a:xfrm>
            <a:off x="1420316" y="4610448"/>
            <a:ext cx="500534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</a:rPr>
              <a:t>2025 год – 19 183 млн. тенге (17,3 тыс. чел.)</a:t>
            </a:r>
          </a:p>
          <a:p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</a:rPr>
              <a:t>2026 год – 22 611 млн. тенге (19,4 тыс. чел.)</a:t>
            </a:r>
            <a:endParaRPr lang="ru-RU" dirty="0"/>
          </a:p>
          <a:p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</a:rPr>
              <a:t>2027 год – 27 027 млн. тенге (21,9 тыс. чел.)</a:t>
            </a:r>
            <a:endParaRPr lang="ru-RU" dirty="0"/>
          </a:p>
          <a:p>
            <a:endParaRPr lang="ru-RU" dirty="0"/>
          </a:p>
        </p:txBody>
      </p:sp>
      <p:sp>
        <p:nvSpPr>
          <p:cNvPr id="5" name="原创设计师QQ598969553          _4">
            <a:extLst>
              <a:ext uri="{FF2B5EF4-FFF2-40B4-BE49-F238E27FC236}">
                <a16:creationId xmlns:a16="http://schemas.microsoft.com/office/drawing/2014/main" id="{7AE92C59-143A-2A83-1250-2BED3EAD3C42}"/>
              </a:ext>
            </a:extLst>
          </p:cNvPr>
          <p:cNvSpPr/>
          <p:nvPr/>
        </p:nvSpPr>
        <p:spPr>
          <a:xfrm flipV="1">
            <a:off x="6586395" y="4668412"/>
            <a:ext cx="600740" cy="818707"/>
          </a:xfrm>
          <a:prstGeom prst="flowChartManualInput">
            <a:avLst/>
          </a:prstGeom>
          <a:noFill/>
          <a:ln w="5715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sz="1400" kern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6" name="原创设计师QQ598969553          _16">
            <a:extLst>
              <a:ext uri="{FF2B5EF4-FFF2-40B4-BE49-F238E27FC236}">
                <a16:creationId xmlns:a16="http://schemas.microsoft.com/office/drawing/2014/main" id="{3A398CAC-6A04-76DE-46C8-EEEDA67818DC}"/>
              </a:ext>
            </a:extLst>
          </p:cNvPr>
          <p:cNvGrpSpPr/>
          <p:nvPr/>
        </p:nvGrpSpPr>
        <p:grpSpPr>
          <a:xfrm>
            <a:off x="6738411" y="4852998"/>
            <a:ext cx="307215" cy="307212"/>
            <a:chOff x="11121822" y="1145785"/>
            <a:chExt cx="307214" cy="307212"/>
          </a:xfrm>
          <a:solidFill>
            <a:sysClr val="windowText" lastClr="000000">
              <a:lumMod val="65000"/>
              <a:lumOff val="35000"/>
            </a:sysClr>
          </a:solidFill>
        </p:grpSpPr>
        <p:sp>
          <p:nvSpPr>
            <p:cNvPr id="7" name="Freeform 140">
              <a:extLst>
                <a:ext uri="{FF2B5EF4-FFF2-40B4-BE49-F238E27FC236}">
                  <a16:creationId xmlns:a16="http://schemas.microsoft.com/office/drawing/2014/main" id="{553CCC0B-40D2-CC0E-5C71-57F5C3483E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21822" y="1211403"/>
              <a:ext cx="241594" cy="241594"/>
            </a:xfrm>
            <a:custGeom>
              <a:avLst/>
              <a:gdLst>
                <a:gd name="T0" fmla="*/ 103 w 112"/>
                <a:gd name="T1" fmla="*/ 47 h 112"/>
                <a:gd name="T2" fmla="*/ 106 w 112"/>
                <a:gd name="T3" fmla="*/ 36 h 112"/>
                <a:gd name="T4" fmla="*/ 102 w 112"/>
                <a:gd name="T5" fmla="*/ 22 h 112"/>
                <a:gd name="T6" fmla="*/ 92 w 112"/>
                <a:gd name="T7" fmla="*/ 25 h 112"/>
                <a:gd name="T8" fmla="*/ 90 w 112"/>
                <a:gd name="T9" fmla="*/ 14 h 112"/>
                <a:gd name="T10" fmla="*/ 79 w 112"/>
                <a:gd name="T11" fmla="*/ 4 h 112"/>
                <a:gd name="T12" fmla="*/ 71 w 112"/>
                <a:gd name="T13" fmla="*/ 11 h 112"/>
                <a:gd name="T14" fmla="*/ 64 w 112"/>
                <a:gd name="T15" fmla="*/ 3 h 112"/>
                <a:gd name="T16" fmla="*/ 50 w 112"/>
                <a:gd name="T17" fmla="*/ 0 h 112"/>
                <a:gd name="T18" fmla="*/ 47 w 112"/>
                <a:gd name="T19" fmla="*/ 10 h 112"/>
                <a:gd name="T20" fmla="*/ 37 w 112"/>
                <a:gd name="T21" fmla="*/ 6 h 112"/>
                <a:gd name="T22" fmla="*/ 23 w 112"/>
                <a:gd name="T23" fmla="*/ 11 h 112"/>
                <a:gd name="T24" fmla="*/ 25 w 112"/>
                <a:gd name="T25" fmla="*/ 20 h 112"/>
                <a:gd name="T26" fmla="*/ 14 w 112"/>
                <a:gd name="T27" fmla="*/ 22 h 112"/>
                <a:gd name="T28" fmla="*/ 5 w 112"/>
                <a:gd name="T29" fmla="*/ 33 h 112"/>
                <a:gd name="T30" fmla="*/ 12 w 112"/>
                <a:gd name="T31" fmla="*/ 41 h 112"/>
                <a:gd name="T32" fmla="*/ 3 w 112"/>
                <a:gd name="T33" fmla="*/ 48 h 112"/>
                <a:gd name="T34" fmla="*/ 0 w 112"/>
                <a:gd name="T35" fmla="*/ 62 h 112"/>
                <a:gd name="T36" fmla="*/ 10 w 112"/>
                <a:gd name="T37" fmla="*/ 65 h 112"/>
                <a:gd name="T38" fmla="*/ 6 w 112"/>
                <a:gd name="T39" fmla="*/ 75 h 112"/>
                <a:gd name="T40" fmla="*/ 11 w 112"/>
                <a:gd name="T41" fmla="*/ 89 h 112"/>
                <a:gd name="T42" fmla="*/ 21 w 112"/>
                <a:gd name="T43" fmla="*/ 87 h 112"/>
                <a:gd name="T44" fmla="*/ 23 w 112"/>
                <a:gd name="T45" fmla="*/ 98 h 112"/>
                <a:gd name="T46" fmla="*/ 34 w 112"/>
                <a:gd name="T47" fmla="*/ 108 h 112"/>
                <a:gd name="T48" fmla="*/ 41 w 112"/>
                <a:gd name="T49" fmla="*/ 101 h 112"/>
                <a:gd name="T50" fmla="*/ 48 w 112"/>
                <a:gd name="T51" fmla="*/ 109 h 112"/>
                <a:gd name="T52" fmla="*/ 63 w 112"/>
                <a:gd name="T53" fmla="*/ 112 h 112"/>
                <a:gd name="T54" fmla="*/ 66 w 112"/>
                <a:gd name="T55" fmla="*/ 102 h 112"/>
                <a:gd name="T56" fmla="*/ 76 w 112"/>
                <a:gd name="T57" fmla="*/ 106 h 112"/>
                <a:gd name="T58" fmla="*/ 90 w 112"/>
                <a:gd name="T59" fmla="*/ 101 h 112"/>
                <a:gd name="T60" fmla="*/ 88 w 112"/>
                <a:gd name="T61" fmla="*/ 91 h 112"/>
                <a:gd name="T62" fmla="*/ 98 w 112"/>
                <a:gd name="T63" fmla="*/ 89 h 112"/>
                <a:gd name="T64" fmla="*/ 108 w 112"/>
                <a:gd name="T65" fmla="*/ 78 h 112"/>
                <a:gd name="T66" fmla="*/ 101 w 112"/>
                <a:gd name="T67" fmla="*/ 71 h 112"/>
                <a:gd name="T68" fmla="*/ 110 w 112"/>
                <a:gd name="T69" fmla="*/ 64 h 112"/>
                <a:gd name="T70" fmla="*/ 112 w 112"/>
                <a:gd name="T71" fmla="*/ 49 h 112"/>
                <a:gd name="T72" fmla="*/ 56 w 112"/>
                <a:gd name="T73" fmla="*/ 86 h 112"/>
                <a:gd name="T74" fmla="*/ 56 w 112"/>
                <a:gd name="T75" fmla="*/ 26 h 112"/>
                <a:gd name="T76" fmla="*/ 56 w 112"/>
                <a:gd name="T77" fmla="*/ 8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2" h="112">
                  <a:moveTo>
                    <a:pt x="110" y="47"/>
                  </a:moveTo>
                  <a:cubicBezTo>
                    <a:pt x="103" y="47"/>
                    <a:pt x="103" y="47"/>
                    <a:pt x="103" y="47"/>
                  </a:cubicBezTo>
                  <a:cubicBezTo>
                    <a:pt x="102" y="44"/>
                    <a:pt x="101" y="42"/>
                    <a:pt x="101" y="39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8" y="35"/>
                    <a:pt x="108" y="34"/>
                    <a:pt x="107" y="32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1"/>
                    <a:pt x="99" y="20"/>
                    <a:pt x="98" y="21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0" y="23"/>
                    <a:pt x="88" y="21"/>
                    <a:pt x="87" y="20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91" y="12"/>
                    <a:pt x="90" y="11"/>
                    <a:pt x="89" y="10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77" y="3"/>
                    <a:pt x="76" y="4"/>
                    <a:pt x="75" y="5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69" y="10"/>
                    <a:pt x="67" y="10"/>
                    <a:pt x="64" y="9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1"/>
                    <a:pt x="63" y="0"/>
                    <a:pt x="6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8" y="0"/>
                    <a:pt x="47" y="1"/>
                    <a:pt x="47" y="3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5" y="10"/>
                    <a:pt x="42" y="11"/>
                    <a:pt x="40" y="12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6" y="4"/>
                    <a:pt x="34" y="4"/>
                    <a:pt x="33" y="5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1" y="11"/>
                    <a:pt x="21" y="13"/>
                    <a:pt x="22" y="14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3" y="22"/>
                    <a:pt x="22" y="24"/>
                    <a:pt x="20" y="26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3" y="22"/>
                    <a:pt x="11" y="22"/>
                    <a:pt x="10" y="2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4" y="35"/>
                    <a:pt x="4" y="36"/>
                    <a:pt x="6" y="37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1" y="43"/>
                    <a:pt x="10" y="45"/>
                    <a:pt x="10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" y="48"/>
                    <a:pt x="0" y="49"/>
                    <a:pt x="0" y="51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5"/>
                    <a:pt x="3" y="65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11" y="68"/>
                    <a:pt x="11" y="70"/>
                    <a:pt x="12" y="72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5" y="76"/>
                    <a:pt x="5" y="78"/>
                    <a:pt x="5" y="79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2" y="91"/>
                    <a:pt x="14" y="91"/>
                    <a:pt x="15" y="90"/>
                  </a:cubicBezTo>
                  <a:cubicBezTo>
                    <a:pt x="21" y="87"/>
                    <a:pt x="21" y="87"/>
                    <a:pt x="21" y="87"/>
                  </a:cubicBezTo>
                  <a:cubicBezTo>
                    <a:pt x="23" y="89"/>
                    <a:pt x="24" y="91"/>
                    <a:pt x="26" y="92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2" y="99"/>
                    <a:pt x="23" y="101"/>
                    <a:pt x="24" y="102"/>
                  </a:cubicBezTo>
                  <a:cubicBezTo>
                    <a:pt x="34" y="108"/>
                    <a:pt x="34" y="108"/>
                    <a:pt x="34" y="108"/>
                  </a:cubicBezTo>
                  <a:cubicBezTo>
                    <a:pt x="35" y="108"/>
                    <a:pt x="37" y="108"/>
                    <a:pt x="38" y="106"/>
                  </a:cubicBezTo>
                  <a:cubicBezTo>
                    <a:pt x="41" y="101"/>
                    <a:pt x="41" y="101"/>
                    <a:pt x="41" y="101"/>
                  </a:cubicBezTo>
                  <a:cubicBezTo>
                    <a:pt x="44" y="101"/>
                    <a:pt x="46" y="102"/>
                    <a:pt x="48" y="102"/>
                  </a:cubicBezTo>
                  <a:cubicBezTo>
                    <a:pt x="48" y="109"/>
                    <a:pt x="48" y="109"/>
                    <a:pt x="48" y="109"/>
                  </a:cubicBezTo>
                  <a:cubicBezTo>
                    <a:pt x="48" y="111"/>
                    <a:pt x="50" y="112"/>
                    <a:pt x="51" y="112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64" y="112"/>
                    <a:pt x="66" y="111"/>
                    <a:pt x="66" y="109"/>
                  </a:cubicBezTo>
                  <a:cubicBezTo>
                    <a:pt x="66" y="102"/>
                    <a:pt x="66" y="102"/>
                    <a:pt x="66" y="102"/>
                  </a:cubicBezTo>
                  <a:cubicBezTo>
                    <a:pt x="68" y="102"/>
                    <a:pt x="70" y="101"/>
                    <a:pt x="73" y="100"/>
                  </a:cubicBezTo>
                  <a:cubicBezTo>
                    <a:pt x="76" y="106"/>
                    <a:pt x="76" y="106"/>
                    <a:pt x="76" y="106"/>
                  </a:cubicBezTo>
                  <a:cubicBezTo>
                    <a:pt x="77" y="107"/>
                    <a:pt x="79" y="108"/>
                    <a:pt x="80" y="107"/>
                  </a:cubicBezTo>
                  <a:cubicBezTo>
                    <a:pt x="90" y="101"/>
                    <a:pt x="90" y="101"/>
                    <a:pt x="90" y="101"/>
                  </a:cubicBezTo>
                  <a:cubicBezTo>
                    <a:pt x="91" y="100"/>
                    <a:pt x="92" y="99"/>
                    <a:pt x="91" y="97"/>
                  </a:cubicBezTo>
                  <a:cubicBezTo>
                    <a:pt x="88" y="91"/>
                    <a:pt x="88" y="91"/>
                    <a:pt x="88" y="91"/>
                  </a:cubicBezTo>
                  <a:cubicBezTo>
                    <a:pt x="89" y="90"/>
                    <a:pt x="91" y="88"/>
                    <a:pt x="93" y="86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100" y="90"/>
                    <a:pt x="102" y="90"/>
                    <a:pt x="102" y="88"/>
                  </a:cubicBezTo>
                  <a:cubicBezTo>
                    <a:pt x="108" y="78"/>
                    <a:pt x="108" y="78"/>
                    <a:pt x="108" y="78"/>
                  </a:cubicBezTo>
                  <a:cubicBezTo>
                    <a:pt x="109" y="77"/>
                    <a:pt x="108" y="75"/>
                    <a:pt x="107" y="74"/>
                  </a:cubicBezTo>
                  <a:cubicBezTo>
                    <a:pt x="101" y="71"/>
                    <a:pt x="101" y="71"/>
                    <a:pt x="101" y="71"/>
                  </a:cubicBezTo>
                  <a:cubicBezTo>
                    <a:pt x="102" y="69"/>
                    <a:pt x="102" y="66"/>
                    <a:pt x="103" y="64"/>
                  </a:cubicBezTo>
                  <a:cubicBezTo>
                    <a:pt x="110" y="64"/>
                    <a:pt x="110" y="64"/>
                    <a:pt x="110" y="64"/>
                  </a:cubicBezTo>
                  <a:cubicBezTo>
                    <a:pt x="111" y="64"/>
                    <a:pt x="112" y="63"/>
                    <a:pt x="112" y="61"/>
                  </a:cubicBezTo>
                  <a:cubicBezTo>
                    <a:pt x="112" y="49"/>
                    <a:pt x="112" y="49"/>
                    <a:pt x="112" y="49"/>
                  </a:cubicBezTo>
                  <a:cubicBezTo>
                    <a:pt x="112" y="48"/>
                    <a:pt x="111" y="47"/>
                    <a:pt x="110" y="47"/>
                  </a:cubicBezTo>
                  <a:close/>
                  <a:moveTo>
                    <a:pt x="56" y="86"/>
                  </a:moveTo>
                  <a:cubicBezTo>
                    <a:pt x="40" y="86"/>
                    <a:pt x="26" y="72"/>
                    <a:pt x="26" y="56"/>
                  </a:cubicBezTo>
                  <a:cubicBezTo>
                    <a:pt x="26" y="39"/>
                    <a:pt x="40" y="26"/>
                    <a:pt x="56" y="26"/>
                  </a:cubicBezTo>
                  <a:cubicBezTo>
                    <a:pt x="73" y="26"/>
                    <a:pt x="86" y="39"/>
                    <a:pt x="86" y="56"/>
                  </a:cubicBezTo>
                  <a:cubicBezTo>
                    <a:pt x="86" y="72"/>
                    <a:pt x="73" y="86"/>
                    <a:pt x="56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 sz="1400" kern="0">
                <a:solidFill>
                  <a:prstClr val="black"/>
                </a:solidFill>
              </a:endParaRPr>
            </a:p>
          </p:txBody>
        </p:sp>
        <p:sp>
          <p:nvSpPr>
            <p:cNvPr id="8" name="Freeform 141">
              <a:extLst>
                <a:ext uri="{FF2B5EF4-FFF2-40B4-BE49-F238E27FC236}">
                  <a16:creationId xmlns:a16="http://schemas.microsoft.com/office/drawing/2014/main" id="{1AA80148-9E2C-FC24-EB05-273AAA1BF7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17186" y="1145785"/>
              <a:ext cx="111850" cy="113341"/>
            </a:xfrm>
            <a:custGeom>
              <a:avLst/>
              <a:gdLst>
                <a:gd name="T0" fmla="*/ 48 w 52"/>
                <a:gd name="T1" fmla="*/ 23 h 52"/>
                <a:gd name="T2" fmla="*/ 50 w 52"/>
                <a:gd name="T3" fmla="*/ 17 h 52"/>
                <a:gd name="T4" fmla="*/ 48 w 52"/>
                <a:gd name="T5" fmla="*/ 11 h 52"/>
                <a:gd name="T6" fmla="*/ 44 w 52"/>
                <a:gd name="T7" fmla="*/ 12 h 52"/>
                <a:gd name="T8" fmla="*/ 42 w 52"/>
                <a:gd name="T9" fmla="*/ 6 h 52"/>
                <a:gd name="T10" fmla="*/ 38 w 52"/>
                <a:gd name="T11" fmla="*/ 2 h 52"/>
                <a:gd name="T12" fmla="*/ 34 w 52"/>
                <a:gd name="T13" fmla="*/ 5 h 52"/>
                <a:gd name="T14" fmla="*/ 30 w 52"/>
                <a:gd name="T15" fmla="*/ 1 h 52"/>
                <a:gd name="T16" fmla="*/ 24 w 52"/>
                <a:gd name="T17" fmla="*/ 0 h 52"/>
                <a:gd name="T18" fmla="*/ 23 w 52"/>
                <a:gd name="T19" fmla="*/ 4 h 52"/>
                <a:gd name="T20" fmla="*/ 17 w 52"/>
                <a:gd name="T21" fmla="*/ 2 h 52"/>
                <a:gd name="T22" fmla="*/ 11 w 52"/>
                <a:gd name="T23" fmla="*/ 4 h 52"/>
                <a:gd name="T24" fmla="*/ 12 w 52"/>
                <a:gd name="T25" fmla="*/ 8 h 52"/>
                <a:gd name="T26" fmla="*/ 6 w 52"/>
                <a:gd name="T27" fmla="*/ 10 h 52"/>
                <a:gd name="T28" fmla="*/ 2 w 52"/>
                <a:gd name="T29" fmla="*/ 14 h 52"/>
                <a:gd name="T30" fmla="*/ 6 w 52"/>
                <a:gd name="T31" fmla="*/ 18 h 52"/>
                <a:gd name="T32" fmla="*/ 1 w 52"/>
                <a:gd name="T33" fmla="*/ 22 h 52"/>
                <a:gd name="T34" fmla="*/ 0 w 52"/>
                <a:gd name="T35" fmla="*/ 28 h 52"/>
                <a:gd name="T36" fmla="*/ 4 w 52"/>
                <a:gd name="T37" fmla="*/ 29 h 52"/>
                <a:gd name="T38" fmla="*/ 2 w 52"/>
                <a:gd name="T39" fmla="*/ 35 h 52"/>
                <a:gd name="T40" fmla="*/ 4 w 52"/>
                <a:gd name="T41" fmla="*/ 41 h 52"/>
                <a:gd name="T42" fmla="*/ 9 w 52"/>
                <a:gd name="T43" fmla="*/ 40 h 52"/>
                <a:gd name="T44" fmla="*/ 10 w 52"/>
                <a:gd name="T45" fmla="*/ 46 h 52"/>
                <a:gd name="T46" fmla="*/ 15 w 52"/>
                <a:gd name="T47" fmla="*/ 50 h 52"/>
                <a:gd name="T48" fmla="*/ 18 w 52"/>
                <a:gd name="T49" fmla="*/ 47 h 52"/>
                <a:gd name="T50" fmla="*/ 22 w 52"/>
                <a:gd name="T51" fmla="*/ 51 h 52"/>
                <a:gd name="T52" fmla="*/ 28 w 52"/>
                <a:gd name="T53" fmla="*/ 52 h 52"/>
                <a:gd name="T54" fmla="*/ 29 w 52"/>
                <a:gd name="T55" fmla="*/ 48 h 52"/>
                <a:gd name="T56" fmla="*/ 35 w 52"/>
                <a:gd name="T57" fmla="*/ 50 h 52"/>
                <a:gd name="T58" fmla="*/ 41 w 52"/>
                <a:gd name="T59" fmla="*/ 48 h 52"/>
                <a:gd name="T60" fmla="*/ 40 w 52"/>
                <a:gd name="T61" fmla="*/ 43 h 52"/>
                <a:gd name="T62" fmla="*/ 46 w 52"/>
                <a:gd name="T63" fmla="*/ 42 h 52"/>
                <a:gd name="T64" fmla="*/ 50 w 52"/>
                <a:gd name="T65" fmla="*/ 37 h 52"/>
                <a:gd name="T66" fmla="*/ 47 w 52"/>
                <a:gd name="T67" fmla="*/ 34 h 52"/>
                <a:gd name="T68" fmla="*/ 51 w 52"/>
                <a:gd name="T69" fmla="*/ 30 h 52"/>
                <a:gd name="T70" fmla="*/ 52 w 52"/>
                <a:gd name="T71" fmla="*/ 24 h 52"/>
                <a:gd name="T72" fmla="*/ 26 w 52"/>
                <a:gd name="T73" fmla="*/ 40 h 52"/>
                <a:gd name="T74" fmla="*/ 26 w 52"/>
                <a:gd name="T75" fmla="*/ 12 h 52"/>
                <a:gd name="T76" fmla="*/ 26 w 52"/>
                <a:gd name="T77" fmla="*/ 4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2" h="52">
                  <a:moveTo>
                    <a:pt x="51" y="23"/>
                  </a:move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8" y="20"/>
                    <a:pt x="47" y="18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6"/>
                    <a:pt x="51" y="16"/>
                    <a:pt x="50" y="15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0"/>
                    <a:pt x="47" y="10"/>
                    <a:pt x="46" y="11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3" y="11"/>
                    <a:pt x="42" y="10"/>
                    <a:pt x="40" y="9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"/>
                    <a:pt x="42" y="5"/>
                    <a:pt x="42" y="4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7" y="2"/>
                    <a:pt x="36" y="2"/>
                    <a:pt x="36" y="3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3" y="5"/>
                    <a:pt x="32" y="4"/>
                    <a:pt x="30" y="4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0"/>
                    <a:pt x="29" y="0"/>
                    <a:pt x="2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3" y="0"/>
                    <a:pt x="23" y="1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1" y="4"/>
                    <a:pt x="20" y="5"/>
                    <a:pt x="19" y="5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6" y="1"/>
                    <a:pt x="15" y="2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5"/>
                    <a:pt x="11" y="6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0" y="10"/>
                    <a:pt x="9" y="12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5" y="10"/>
                    <a:pt x="5" y="10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5"/>
                    <a:pt x="2" y="16"/>
                    <a:pt x="3" y="16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9"/>
                    <a:pt x="5" y="21"/>
                    <a:pt x="4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2"/>
                    <a:pt x="0" y="23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9"/>
                    <a:pt x="0" y="29"/>
                    <a:pt x="1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31"/>
                    <a:pt x="5" y="32"/>
                    <a:pt x="5" y="34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6"/>
                    <a:pt x="2" y="36"/>
                    <a:pt x="2" y="37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5" y="41"/>
                    <a:pt x="5" y="42"/>
                    <a:pt x="6" y="41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10" y="41"/>
                    <a:pt x="11" y="42"/>
                    <a:pt x="12" y="43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10" y="46"/>
                    <a:pt x="10" y="47"/>
                    <a:pt x="11" y="47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6" y="50"/>
                    <a:pt x="16" y="49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9" y="47"/>
                    <a:pt x="21" y="48"/>
                    <a:pt x="22" y="48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2"/>
                    <a:pt x="23" y="52"/>
                    <a:pt x="24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9" y="52"/>
                    <a:pt x="29" y="52"/>
                    <a:pt x="29" y="51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31" y="48"/>
                    <a:pt x="32" y="47"/>
                    <a:pt x="34" y="47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6" y="50"/>
                    <a:pt x="36" y="50"/>
                    <a:pt x="37" y="50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2" y="47"/>
                    <a:pt x="42" y="47"/>
                    <a:pt x="41" y="46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1" y="42"/>
                    <a:pt x="42" y="41"/>
                    <a:pt x="43" y="40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7" y="42"/>
                    <a:pt x="47" y="42"/>
                    <a:pt x="48" y="41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50" y="37"/>
                    <a:pt x="50" y="36"/>
                    <a:pt x="50" y="36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3"/>
                    <a:pt x="48" y="31"/>
                    <a:pt x="48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2" y="30"/>
                    <a:pt x="52" y="29"/>
                    <a:pt x="52" y="29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3"/>
                    <a:pt x="52" y="23"/>
                    <a:pt x="51" y="23"/>
                  </a:cubicBezTo>
                  <a:close/>
                  <a:moveTo>
                    <a:pt x="26" y="40"/>
                  </a:moveTo>
                  <a:cubicBezTo>
                    <a:pt x="18" y="40"/>
                    <a:pt x="12" y="34"/>
                    <a:pt x="12" y="26"/>
                  </a:cubicBezTo>
                  <a:cubicBezTo>
                    <a:pt x="12" y="18"/>
                    <a:pt x="18" y="12"/>
                    <a:pt x="26" y="12"/>
                  </a:cubicBezTo>
                  <a:cubicBezTo>
                    <a:pt x="34" y="12"/>
                    <a:pt x="40" y="18"/>
                    <a:pt x="40" y="26"/>
                  </a:cubicBezTo>
                  <a:cubicBezTo>
                    <a:pt x="40" y="34"/>
                    <a:pt x="34" y="40"/>
                    <a:pt x="26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 sz="1400" kern="0">
                <a:solidFill>
                  <a:prstClr val="black"/>
                </a:solidFill>
              </a:endParaRPr>
            </a:p>
          </p:txBody>
        </p:sp>
      </p:grp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0DB1D81-A189-7723-4B0E-413E66E811DB}"/>
              </a:ext>
            </a:extLst>
          </p:cNvPr>
          <p:cNvSpPr/>
          <p:nvPr/>
        </p:nvSpPr>
        <p:spPr>
          <a:xfrm>
            <a:off x="7339151" y="4610449"/>
            <a:ext cx="48528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Возмещение страховыми компаниями затрат</a:t>
            </a:r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</a:rPr>
              <a:t>работодателей на превентивные (6%) и реабилитационные мероприятия (6%) </a:t>
            </a:r>
            <a:r>
              <a:rPr lang="ru-RU" sz="1067" i="1" dirty="0">
                <a:latin typeface="Arial" panose="020B0604020202020204" pitchFamily="34" charset="0"/>
                <a:ea typeface="Calibri" panose="020F0502020204030204" pitchFamily="34" charset="0"/>
              </a:rPr>
              <a:t>(Приказ МТСЗН РК от 31 января 2024 года № 20)</a:t>
            </a:r>
          </a:p>
        </p:txBody>
      </p:sp>
      <p:sp>
        <p:nvSpPr>
          <p:cNvPr id="10" name="原创设计师QQ598969553          _4">
            <a:extLst>
              <a:ext uri="{FF2B5EF4-FFF2-40B4-BE49-F238E27FC236}">
                <a16:creationId xmlns:a16="http://schemas.microsoft.com/office/drawing/2014/main" id="{4636D6B5-D0E1-DB80-63B9-4BFC35E9259B}"/>
              </a:ext>
            </a:extLst>
          </p:cNvPr>
          <p:cNvSpPr/>
          <p:nvPr/>
        </p:nvSpPr>
        <p:spPr>
          <a:xfrm flipV="1">
            <a:off x="774239" y="4668412"/>
            <a:ext cx="600740" cy="818707"/>
          </a:xfrm>
          <a:prstGeom prst="flowChartManualInput">
            <a:avLst/>
          </a:prstGeom>
          <a:noFill/>
          <a:ln w="5715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sz="140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原创设计师QQ598969553          _17">
            <a:extLst>
              <a:ext uri="{FF2B5EF4-FFF2-40B4-BE49-F238E27FC236}">
                <a16:creationId xmlns:a16="http://schemas.microsoft.com/office/drawing/2014/main" id="{F77E0507-0D87-917A-FA7C-23B3B47B80E1}"/>
              </a:ext>
            </a:extLst>
          </p:cNvPr>
          <p:cNvSpPr>
            <a:spLocks/>
          </p:cNvSpPr>
          <p:nvPr/>
        </p:nvSpPr>
        <p:spPr bwMode="auto">
          <a:xfrm>
            <a:off x="923433" y="4857718"/>
            <a:ext cx="290808" cy="314671"/>
          </a:xfrm>
          <a:custGeom>
            <a:avLst/>
            <a:gdLst>
              <a:gd name="T0" fmla="*/ 126 w 134"/>
              <a:gd name="T1" fmla="*/ 100 h 145"/>
              <a:gd name="T2" fmla="*/ 83 w 134"/>
              <a:gd name="T3" fmla="*/ 88 h 145"/>
              <a:gd name="T4" fmla="*/ 85 w 134"/>
              <a:gd name="T5" fmla="*/ 77 h 145"/>
              <a:gd name="T6" fmla="*/ 91 w 134"/>
              <a:gd name="T7" fmla="*/ 69 h 145"/>
              <a:gd name="T8" fmla="*/ 92 w 134"/>
              <a:gd name="T9" fmla="*/ 60 h 145"/>
              <a:gd name="T10" fmla="*/ 94 w 134"/>
              <a:gd name="T11" fmla="*/ 60 h 145"/>
              <a:gd name="T12" fmla="*/ 97 w 134"/>
              <a:gd name="T13" fmla="*/ 58 h 145"/>
              <a:gd name="T14" fmla="*/ 98 w 134"/>
              <a:gd name="T15" fmla="*/ 43 h 145"/>
              <a:gd name="T16" fmla="*/ 96 w 134"/>
              <a:gd name="T17" fmla="*/ 40 h 145"/>
              <a:gd name="T18" fmla="*/ 94 w 134"/>
              <a:gd name="T19" fmla="*/ 40 h 145"/>
              <a:gd name="T20" fmla="*/ 95 w 134"/>
              <a:gd name="T21" fmla="*/ 32 h 145"/>
              <a:gd name="T22" fmla="*/ 90 w 134"/>
              <a:gd name="T23" fmla="*/ 10 h 145"/>
              <a:gd name="T24" fmla="*/ 44 w 134"/>
              <a:gd name="T25" fmla="*/ 10 h 145"/>
              <a:gd name="T26" fmla="*/ 39 w 134"/>
              <a:gd name="T27" fmla="*/ 32 h 145"/>
              <a:gd name="T28" fmla="*/ 40 w 134"/>
              <a:gd name="T29" fmla="*/ 40 h 145"/>
              <a:gd name="T30" fmla="*/ 38 w 134"/>
              <a:gd name="T31" fmla="*/ 40 h 145"/>
              <a:gd name="T32" fmla="*/ 35 w 134"/>
              <a:gd name="T33" fmla="*/ 43 h 145"/>
              <a:gd name="T34" fmla="*/ 37 w 134"/>
              <a:gd name="T35" fmla="*/ 58 h 145"/>
              <a:gd name="T36" fmla="*/ 40 w 134"/>
              <a:gd name="T37" fmla="*/ 60 h 145"/>
              <a:gd name="T38" fmla="*/ 42 w 134"/>
              <a:gd name="T39" fmla="*/ 60 h 145"/>
              <a:gd name="T40" fmla="*/ 43 w 134"/>
              <a:gd name="T41" fmla="*/ 69 h 145"/>
              <a:gd name="T42" fmla="*/ 49 w 134"/>
              <a:gd name="T43" fmla="*/ 77 h 145"/>
              <a:gd name="T44" fmla="*/ 50 w 134"/>
              <a:gd name="T45" fmla="*/ 88 h 145"/>
              <a:gd name="T46" fmla="*/ 8 w 134"/>
              <a:gd name="T47" fmla="*/ 100 h 145"/>
              <a:gd name="T48" fmla="*/ 1 w 134"/>
              <a:gd name="T49" fmla="*/ 113 h 145"/>
              <a:gd name="T50" fmla="*/ 2 w 134"/>
              <a:gd name="T51" fmla="*/ 129 h 145"/>
              <a:gd name="T52" fmla="*/ 11 w 134"/>
              <a:gd name="T53" fmla="*/ 139 h 145"/>
              <a:gd name="T54" fmla="*/ 123 w 134"/>
              <a:gd name="T55" fmla="*/ 139 h 145"/>
              <a:gd name="T56" fmla="*/ 132 w 134"/>
              <a:gd name="T57" fmla="*/ 129 h 145"/>
              <a:gd name="T58" fmla="*/ 133 w 134"/>
              <a:gd name="T59" fmla="*/ 113 h 145"/>
              <a:gd name="T60" fmla="*/ 126 w 134"/>
              <a:gd name="T61" fmla="*/ 100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34" h="145">
                <a:moveTo>
                  <a:pt x="126" y="100"/>
                </a:moveTo>
                <a:cubicBezTo>
                  <a:pt x="113" y="93"/>
                  <a:pt x="98" y="89"/>
                  <a:pt x="83" y="88"/>
                </a:cubicBezTo>
                <a:cubicBezTo>
                  <a:pt x="84" y="84"/>
                  <a:pt x="84" y="81"/>
                  <a:pt x="85" y="77"/>
                </a:cubicBezTo>
                <a:cubicBezTo>
                  <a:pt x="88" y="75"/>
                  <a:pt x="91" y="72"/>
                  <a:pt x="91" y="69"/>
                </a:cubicBezTo>
                <a:cubicBezTo>
                  <a:pt x="91" y="66"/>
                  <a:pt x="92" y="63"/>
                  <a:pt x="92" y="60"/>
                </a:cubicBezTo>
                <a:cubicBezTo>
                  <a:pt x="92" y="60"/>
                  <a:pt x="93" y="60"/>
                  <a:pt x="94" y="60"/>
                </a:cubicBezTo>
                <a:cubicBezTo>
                  <a:pt x="95" y="61"/>
                  <a:pt x="97" y="59"/>
                  <a:pt x="97" y="58"/>
                </a:cubicBezTo>
                <a:cubicBezTo>
                  <a:pt x="98" y="43"/>
                  <a:pt x="98" y="43"/>
                  <a:pt x="98" y="43"/>
                </a:cubicBezTo>
                <a:cubicBezTo>
                  <a:pt x="98" y="41"/>
                  <a:pt x="97" y="40"/>
                  <a:pt x="96" y="40"/>
                </a:cubicBezTo>
                <a:cubicBezTo>
                  <a:pt x="95" y="40"/>
                  <a:pt x="95" y="40"/>
                  <a:pt x="94" y="40"/>
                </a:cubicBezTo>
                <a:cubicBezTo>
                  <a:pt x="94" y="37"/>
                  <a:pt x="95" y="34"/>
                  <a:pt x="95" y="32"/>
                </a:cubicBezTo>
                <a:cubicBezTo>
                  <a:pt x="95" y="28"/>
                  <a:pt x="97" y="17"/>
                  <a:pt x="90" y="10"/>
                </a:cubicBezTo>
                <a:cubicBezTo>
                  <a:pt x="79" y="0"/>
                  <a:pt x="55" y="0"/>
                  <a:pt x="44" y="10"/>
                </a:cubicBezTo>
                <a:cubicBezTo>
                  <a:pt x="36" y="17"/>
                  <a:pt x="38" y="28"/>
                  <a:pt x="39" y="32"/>
                </a:cubicBezTo>
                <a:cubicBezTo>
                  <a:pt x="39" y="34"/>
                  <a:pt x="39" y="37"/>
                  <a:pt x="40" y="40"/>
                </a:cubicBezTo>
                <a:cubicBezTo>
                  <a:pt x="39" y="40"/>
                  <a:pt x="39" y="40"/>
                  <a:pt x="38" y="40"/>
                </a:cubicBezTo>
                <a:cubicBezTo>
                  <a:pt x="36" y="40"/>
                  <a:pt x="35" y="41"/>
                  <a:pt x="35" y="43"/>
                </a:cubicBezTo>
                <a:cubicBezTo>
                  <a:pt x="37" y="58"/>
                  <a:pt x="37" y="58"/>
                  <a:pt x="37" y="58"/>
                </a:cubicBezTo>
                <a:cubicBezTo>
                  <a:pt x="37" y="59"/>
                  <a:pt x="39" y="61"/>
                  <a:pt x="40" y="60"/>
                </a:cubicBezTo>
                <a:cubicBezTo>
                  <a:pt x="41" y="60"/>
                  <a:pt x="41" y="60"/>
                  <a:pt x="42" y="60"/>
                </a:cubicBezTo>
                <a:cubicBezTo>
                  <a:pt x="42" y="63"/>
                  <a:pt x="43" y="66"/>
                  <a:pt x="43" y="69"/>
                </a:cubicBezTo>
                <a:cubicBezTo>
                  <a:pt x="43" y="72"/>
                  <a:pt x="46" y="75"/>
                  <a:pt x="49" y="77"/>
                </a:cubicBezTo>
                <a:cubicBezTo>
                  <a:pt x="49" y="81"/>
                  <a:pt x="50" y="84"/>
                  <a:pt x="50" y="88"/>
                </a:cubicBezTo>
                <a:cubicBezTo>
                  <a:pt x="36" y="89"/>
                  <a:pt x="21" y="93"/>
                  <a:pt x="8" y="100"/>
                </a:cubicBezTo>
                <a:cubicBezTo>
                  <a:pt x="3" y="102"/>
                  <a:pt x="0" y="108"/>
                  <a:pt x="1" y="113"/>
                </a:cubicBezTo>
                <a:cubicBezTo>
                  <a:pt x="1" y="118"/>
                  <a:pt x="2" y="123"/>
                  <a:pt x="2" y="129"/>
                </a:cubicBezTo>
                <a:cubicBezTo>
                  <a:pt x="3" y="133"/>
                  <a:pt x="7" y="138"/>
                  <a:pt x="11" y="139"/>
                </a:cubicBezTo>
                <a:cubicBezTo>
                  <a:pt x="48" y="145"/>
                  <a:pt x="86" y="145"/>
                  <a:pt x="123" y="139"/>
                </a:cubicBezTo>
                <a:cubicBezTo>
                  <a:pt x="127" y="138"/>
                  <a:pt x="131" y="133"/>
                  <a:pt x="132" y="129"/>
                </a:cubicBezTo>
                <a:cubicBezTo>
                  <a:pt x="132" y="123"/>
                  <a:pt x="133" y="118"/>
                  <a:pt x="133" y="113"/>
                </a:cubicBezTo>
                <a:cubicBezTo>
                  <a:pt x="134" y="108"/>
                  <a:pt x="131" y="102"/>
                  <a:pt x="126" y="100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+mn-ea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DBEACC6-4553-4AA3-3353-06A7795E52E1}"/>
              </a:ext>
            </a:extLst>
          </p:cNvPr>
          <p:cNvSpPr txBox="1"/>
          <p:nvPr/>
        </p:nvSpPr>
        <p:spPr>
          <a:xfrm>
            <a:off x="720386" y="5552737"/>
            <a:ext cx="11150773" cy="10775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altLang="zh-CN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компонент</a:t>
            </a:r>
            <a:r>
              <a:rPr lang="en-US" altLang="zh-CN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Класс </a:t>
            </a:r>
            <a:r>
              <a:rPr lang="en-US" sz="1400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проф.риска</a:t>
            </a: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 </a:t>
            </a:r>
            <a:r>
              <a:rPr lang="en-US" sz="1400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по</a:t>
            </a: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 </a:t>
            </a:r>
            <a:r>
              <a:rPr lang="en-US" sz="1400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отраслям</a:t>
            </a:r>
            <a:r>
              <a:rPr lang="ru-RU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 (22 </a:t>
            </a:r>
            <a:r>
              <a:rPr lang="ru-RU" sz="1400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кл</a:t>
            </a:r>
            <a:r>
              <a:rPr lang="ru-RU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) </a:t>
            </a: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&gt;&gt;&gt; </a:t>
            </a:r>
            <a:r>
              <a:rPr lang="kk-KZ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Базовый страховой тариф</a:t>
            </a:r>
          </a:p>
          <a:p>
            <a:pPr algn="l"/>
            <a:r>
              <a:rPr lang="kk-KZ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2 компонент</a:t>
            </a: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. </a:t>
            </a:r>
            <a:r>
              <a:rPr lang="kk-KZ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Степень интегральной оценки проф</a:t>
            </a:r>
            <a:r>
              <a:rPr lang="ru-RU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. рисков (от 1 до 5) </a:t>
            </a: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&gt;&gt;&gt; </a:t>
            </a:r>
            <a:r>
              <a:rPr lang="kk-KZ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Страховой тариф скидка/надбавка</a:t>
            </a: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Inter"/>
              </a:rPr>
              <a:t> </a:t>
            </a:r>
          </a:p>
        </p:txBody>
      </p:sp>
      <p:sp>
        <p:nvSpPr>
          <p:cNvPr id="14" name="圆角矩形 23">
            <a:extLst>
              <a:ext uri="{FF2B5EF4-FFF2-40B4-BE49-F238E27FC236}">
                <a16:creationId xmlns:a16="http://schemas.microsoft.com/office/drawing/2014/main" id="{42CFACE1-72FD-255D-4673-DF8049B86C05}"/>
              </a:ext>
            </a:extLst>
          </p:cNvPr>
          <p:cNvSpPr/>
          <p:nvPr/>
        </p:nvSpPr>
        <p:spPr>
          <a:xfrm>
            <a:off x="633270" y="5830452"/>
            <a:ext cx="11302789" cy="502880"/>
          </a:xfrm>
          <a:prstGeom prst="roundRect">
            <a:avLst>
              <a:gd name="adj" fmla="val 29238"/>
            </a:avLst>
          </a:prstGeom>
          <a:noFill/>
          <a:ln w="19050" cap="flat" cmpd="sng" algn="ctr">
            <a:solidFill>
              <a:schemeClr val="accent5">
                <a:lumMod val="75000"/>
              </a:schemeClr>
            </a:solidFill>
            <a:prstDash val="solid"/>
            <a:miter lim="800000"/>
          </a:ln>
          <a:effectLst/>
        </p:spPr>
        <p:txBody>
          <a:bodyPr lIns="91431" tIns="45715" rIns="91431" bIns="45715" rtlCol="0" anchor="ctr"/>
          <a:lstStyle/>
          <a:p>
            <a:pPr algn="ctr" defTabSz="914377">
              <a:defRPr/>
            </a:pPr>
            <a:endParaRPr lang="zh-CN" altLang="en-US" sz="1051" kern="0" dirty="0">
              <a:solidFill>
                <a:prstClr val="white"/>
              </a:solidFill>
              <a:latin typeface="Calibri" panose="020F0502020204030204"/>
              <a:ea typeface="等线" panose="020B0503020204020204" pitchFamily="2" charset="-122"/>
            </a:endParaRPr>
          </a:p>
        </p:txBody>
      </p:sp>
      <p:sp>
        <p:nvSpPr>
          <p:cNvPr id="15" name="Freeform 21">
            <a:extLst>
              <a:ext uri="{FF2B5EF4-FFF2-40B4-BE49-F238E27FC236}">
                <a16:creationId xmlns:a16="http://schemas.microsoft.com/office/drawing/2014/main" id="{3BE9B257-28F0-2507-A618-8B1FC94BFE31}"/>
              </a:ext>
            </a:extLst>
          </p:cNvPr>
          <p:cNvSpPr>
            <a:spLocks noEditPoints="1"/>
          </p:cNvSpPr>
          <p:nvPr/>
        </p:nvSpPr>
        <p:spPr bwMode="auto">
          <a:xfrm>
            <a:off x="134278" y="6262217"/>
            <a:ext cx="286820" cy="286859"/>
          </a:xfrm>
          <a:custGeom>
            <a:avLst/>
            <a:gdLst>
              <a:gd name="T0" fmla="*/ 278 w 288"/>
              <a:gd name="T1" fmla="*/ 11 h 288"/>
              <a:gd name="T2" fmla="*/ 278 w 288"/>
              <a:gd name="T3" fmla="*/ 48 h 288"/>
              <a:gd name="T4" fmla="*/ 265 w 288"/>
              <a:gd name="T5" fmla="*/ 61 h 288"/>
              <a:gd name="T6" fmla="*/ 227 w 288"/>
              <a:gd name="T7" fmla="*/ 23 h 288"/>
              <a:gd name="T8" fmla="*/ 240 w 288"/>
              <a:gd name="T9" fmla="*/ 11 h 288"/>
              <a:gd name="T10" fmla="*/ 278 w 288"/>
              <a:gd name="T11" fmla="*/ 11 h 288"/>
              <a:gd name="T12" fmla="*/ 89 w 288"/>
              <a:gd name="T13" fmla="*/ 162 h 288"/>
              <a:gd name="T14" fmla="*/ 89 w 288"/>
              <a:gd name="T15" fmla="*/ 162 h 288"/>
              <a:gd name="T16" fmla="*/ 76 w 288"/>
              <a:gd name="T17" fmla="*/ 212 h 288"/>
              <a:gd name="T18" fmla="*/ 126 w 288"/>
              <a:gd name="T19" fmla="*/ 200 h 288"/>
              <a:gd name="T20" fmla="*/ 253 w 288"/>
              <a:gd name="T21" fmla="*/ 74 h 288"/>
              <a:gd name="T22" fmla="*/ 215 w 288"/>
              <a:gd name="T23" fmla="*/ 36 h 288"/>
              <a:gd name="T24" fmla="*/ 89 w 288"/>
              <a:gd name="T25" fmla="*/ 162 h 288"/>
              <a:gd name="T26" fmla="*/ 214 w 288"/>
              <a:gd name="T27" fmla="*/ 137 h 288"/>
              <a:gd name="T28" fmla="*/ 214 w 288"/>
              <a:gd name="T29" fmla="*/ 137 h 288"/>
              <a:gd name="T30" fmla="*/ 214 w 288"/>
              <a:gd name="T31" fmla="*/ 252 h 288"/>
              <a:gd name="T32" fmla="*/ 36 w 288"/>
              <a:gd name="T33" fmla="*/ 252 h 288"/>
              <a:gd name="T34" fmla="*/ 36 w 288"/>
              <a:gd name="T35" fmla="*/ 74 h 288"/>
              <a:gd name="T36" fmla="*/ 151 w 288"/>
              <a:gd name="T37" fmla="*/ 74 h 288"/>
              <a:gd name="T38" fmla="*/ 187 w 288"/>
              <a:gd name="T39" fmla="*/ 38 h 288"/>
              <a:gd name="T40" fmla="*/ 0 w 288"/>
              <a:gd name="T41" fmla="*/ 38 h 288"/>
              <a:gd name="T42" fmla="*/ 0 w 288"/>
              <a:gd name="T43" fmla="*/ 288 h 288"/>
              <a:gd name="T44" fmla="*/ 250 w 288"/>
              <a:gd name="T45" fmla="*/ 288 h 288"/>
              <a:gd name="T46" fmla="*/ 250 w 288"/>
              <a:gd name="T47" fmla="*/ 101 h 288"/>
              <a:gd name="T48" fmla="*/ 214 w 288"/>
              <a:gd name="T49" fmla="*/ 137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88" h="288">
                <a:moveTo>
                  <a:pt x="278" y="11"/>
                </a:moveTo>
                <a:cubicBezTo>
                  <a:pt x="288" y="21"/>
                  <a:pt x="288" y="38"/>
                  <a:pt x="278" y="48"/>
                </a:cubicBezTo>
                <a:cubicBezTo>
                  <a:pt x="265" y="61"/>
                  <a:pt x="265" y="61"/>
                  <a:pt x="265" y="61"/>
                </a:cubicBezTo>
                <a:cubicBezTo>
                  <a:pt x="227" y="23"/>
                  <a:pt x="227" y="23"/>
                  <a:pt x="227" y="23"/>
                </a:cubicBezTo>
                <a:cubicBezTo>
                  <a:pt x="240" y="11"/>
                  <a:pt x="240" y="11"/>
                  <a:pt x="240" y="11"/>
                </a:cubicBezTo>
                <a:cubicBezTo>
                  <a:pt x="250" y="0"/>
                  <a:pt x="267" y="0"/>
                  <a:pt x="278" y="11"/>
                </a:cubicBezTo>
                <a:close/>
                <a:moveTo>
                  <a:pt x="89" y="162"/>
                </a:moveTo>
                <a:cubicBezTo>
                  <a:pt x="89" y="162"/>
                  <a:pt x="89" y="162"/>
                  <a:pt x="89" y="162"/>
                </a:cubicBezTo>
                <a:cubicBezTo>
                  <a:pt x="76" y="212"/>
                  <a:pt x="76" y="212"/>
                  <a:pt x="76" y="212"/>
                </a:cubicBezTo>
                <a:cubicBezTo>
                  <a:pt x="126" y="200"/>
                  <a:pt x="126" y="200"/>
                  <a:pt x="126" y="200"/>
                </a:cubicBezTo>
                <a:cubicBezTo>
                  <a:pt x="253" y="74"/>
                  <a:pt x="253" y="74"/>
                  <a:pt x="253" y="74"/>
                </a:cubicBezTo>
                <a:cubicBezTo>
                  <a:pt x="215" y="36"/>
                  <a:pt x="215" y="36"/>
                  <a:pt x="215" y="36"/>
                </a:cubicBezTo>
                <a:cubicBezTo>
                  <a:pt x="89" y="162"/>
                  <a:pt x="89" y="162"/>
                  <a:pt x="89" y="162"/>
                </a:cubicBezTo>
                <a:close/>
                <a:moveTo>
                  <a:pt x="214" y="137"/>
                </a:moveTo>
                <a:cubicBezTo>
                  <a:pt x="214" y="137"/>
                  <a:pt x="214" y="137"/>
                  <a:pt x="214" y="137"/>
                </a:cubicBezTo>
                <a:cubicBezTo>
                  <a:pt x="214" y="252"/>
                  <a:pt x="214" y="252"/>
                  <a:pt x="214" y="252"/>
                </a:cubicBezTo>
                <a:cubicBezTo>
                  <a:pt x="36" y="252"/>
                  <a:pt x="36" y="252"/>
                  <a:pt x="36" y="252"/>
                </a:cubicBezTo>
                <a:cubicBezTo>
                  <a:pt x="36" y="74"/>
                  <a:pt x="36" y="74"/>
                  <a:pt x="36" y="74"/>
                </a:cubicBezTo>
                <a:cubicBezTo>
                  <a:pt x="151" y="74"/>
                  <a:pt x="151" y="74"/>
                  <a:pt x="151" y="74"/>
                </a:cubicBezTo>
                <a:cubicBezTo>
                  <a:pt x="187" y="38"/>
                  <a:pt x="187" y="38"/>
                  <a:pt x="187" y="38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288"/>
                  <a:pt x="0" y="288"/>
                  <a:pt x="0" y="288"/>
                </a:cubicBezTo>
                <a:cubicBezTo>
                  <a:pt x="250" y="288"/>
                  <a:pt x="250" y="288"/>
                  <a:pt x="250" y="288"/>
                </a:cubicBezTo>
                <a:cubicBezTo>
                  <a:pt x="250" y="101"/>
                  <a:pt x="250" y="101"/>
                  <a:pt x="250" y="101"/>
                </a:cubicBezTo>
                <a:lnTo>
                  <a:pt x="214" y="1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3" tIns="34287" rIns="68573" bIns="34287" numCol="1" anchor="t" anchorCtr="0" compatLnSpc="1">
            <a:prstTxWarp prst="textNoShape">
              <a:avLst/>
            </a:prstTxWarp>
          </a:bodyPr>
          <a:lstStyle/>
          <a:p>
            <a:endParaRPr lang="zh-CN" altLang="en-US" sz="105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4FE4199-B075-6224-566E-329698D7A840}"/>
              </a:ext>
            </a:extLst>
          </p:cNvPr>
          <p:cNvSpPr txBox="1"/>
          <p:nvPr/>
        </p:nvSpPr>
        <p:spPr>
          <a:xfrm>
            <a:off x="11770993" y="6488668"/>
            <a:ext cx="407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-KZ" sz="1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8E026FC-50F6-B6DD-4DF0-B0B4067E2753}"/>
              </a:ext>
            </a:extLst>
          </p:cNvPr>
          <p:cNvSpPr txBox="1"/>
          <p:nvPr/>
        </p:nvSpPr>
        <p:spPr>
          <a:xfrm>
            <a:off x="3599723" y="503181"/>
            <a:ext cx="8271435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67" i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личество лиц, занятых во вредных условиях труда в 2024 году  - 428 </a:t>
            </a:r>
            <a:r>
              <a:rPr lang="ru-RU" sz="1467" i="1" dirty="0" err="1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ыс.чел</a:t>
            </a:r>
            <a:r>
              <a:rPr lang="ru-RU" sz="1467" i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</a:p>
          <a:p>
            <a:r>
              <a:rPr lang="ru-RU" sz="1467" i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ыплата работодателями социальных гарантий в 2024 году  - 297,4 </a:t>
            </a:r>
            <a:r>
              <a:rPr lang="ru-RU" sz="1467" i="1" dirty="0" err="1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лрд.тенге</a:t>
            </a:r>
            <a:endParaRPr lang="ru-RU" sz="1467" i="1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5730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1.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1.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VjYbofqC1G7FHwS38Sh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53</TotalTime>
  <Words>5541</Words>
  <Application>Microsoft Office PowerPoint</Application>
  <PresentationFormat>Широкоэкранный</PresentationFormat>
  <Paragraphs>1064</Paragraphs>
  <Slides>40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0</vt:i4>
      </vt:variant>
    </vt:vector>
  </HeadingPairs>
  <TitlesOfParts>
    <vt:vector size="72" baseType="lpstr">
      <vt:lpstr>宋体</vt:lpstr>
      <vt:lpstr>Aharoni</vt:lpstr>
      <vt:lpstr>arial</vt:lpstr>
      <vt:lpstr>arial</vt:lpstr>
      <vt:lpstr>Arial Black</vt:lpstr>
      <vt:lpstr>Arial Narrow</vt:lpstr>
      <vt:lpstr>Arial Unicode MS</vt:lpstr>
      <vt:lpstr>Bahnschrift</vt:lpstr>
      <vt:lpstr>Calibri</vt:lpstr>
      <vt:lpstr>Century Gothic</vt:lpstr>
      <vt:lpstr>Courier New</vt:lpstr>
      <vt:lpstr>等线</vt:lpstr>
      <vt:lpstr>Gladiola</vt:lpstr>
      <vt:lpstr>Google Sans</vt:lpstr>
      <vt:lpstr>Impact</vt:lpstr>
      <vt:lpstr>Inter</vt:lpstr>
      <vt:lpstr>Montserrat</vt:lpstr>
      <vt:lpstr>Montserrat Bold</vt:lpstr>
      <vt:lpstr>Open Sans</vt:lpstr>
      <vt:lpstr>Open Sans Bold</vt:lpstr>
      <vt:lpstr>Open Sans Light</vt:lpstr>
      <vt:lpstr>Segoe UI</vt:lpstr>
      <vt:lpstr>Segoe UI Black</vt:lpstr>
      <vt:lpstr>Segoe UI Semibold</vt:lpstr>
      <vt:lpstr>Symbol</vt:lpstr>
      <vt:lpstr>Tahoma</vt:lpstr>
      <vt:lpstr>Times New Roman</vt:lpstr>
      <vt:lpstr>Trebuchet MS</vt:lpstr>
      <vt:lpstr>Verdana</vt:lpstr>
      <vt:lpstr>Wingdings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ybol Bolat</dc:creator>
  <cp:lastModifiedBy>Владелец</cp:lastModifiedBy>
  <cp:revision>107</cp:revision>
  <dcterms:created xsi:type="dcterms:W3CDTF">2023-11-24T04:14:12Z</dcterms:created>
  <dcterms:modified xsi:type="dcterms:W3CDTF">2025-12-02T05:3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6-01T00:00:00Z</vt:filetime>
  </property>
  <property fmtid="{D5CDD505-2E9C-101B-9397-08002B2CF9AE}" pid="3" name="Creator">
    <vt:lpwstr>Microsoft® PowerPoint® для Microsoft 365</vt:lpwstr>
  </property>
  <property fmtid="{D5CDD505-2E9C-101B-9397-08002B2CF9AE}" pid="4" name="LastSaved">
    <vt:filetime>2023-11-24T00:00:00Z</vt:filetime>
  </property>
</Properties>
</file>